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3" r:id="rId5"/>
  </p:sldMasterIdLst>
  <p:notesMasterIdLst>
    <p:notesMasterId r:id="rId20"/>
  </p:notesMasterIdLst>
  <p:sldIdLst>
    <p:sldId id="312" r:id="rId6"/>
    <p:sldId id="813" r:id="rId7"/>
    <p:sldId id="938" r:id="rId8"/>
    <p:sldId id="750" r:id="rId9"/>
    <p:sldId id="748" r:id="rId10"/>
    <p:sldId id="972" r:id="rId11"/>
    <p:sldId id="960" r:id="rId12"/>
    <p:sldId id="745" r:id="rId13"/>
    <p:sldId id="973" r:id="rId14"/>
    <p:sldId id="951" r:id="rId15"/>
    <p:sldId id="939" r:id="rId16"/>
    <p:sldId id="931" r:id="rId17"/>
    <p:sldId id="959" r:id="rId18"/>
    <p:sldId id="262" r:id="rId19"/>
  </p:sldIdLst>
  <p:sldSz cx="12192000" cy="6858000"/>
  <p:notesSz cx="6858000" cy="9144000"/>
  <p:custDataLst>
    <p:tags r:id="rId21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118" autoAdjust="0"/>
    <p:restoredTop sz="93028" autoAdjust="0"/>
  </p:normalViewPr>
  <p:slideViewPr>
    <p:cSldViewPr snapToGrid="0">
      <p:cViewPr varScale="1">
        <p:scale>
          <a:sx n="110" d="100"/>
          <a:sy n="110" d="100"/>
        </p:scale>
        <p:origin x="23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98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3D13-F35E-4529-B3F7-0633FF5C8FD7}" type="datetimeFigureOut">
              <a:rPr lang="sv-SE" smtClean="0"/>
              <a:t>2023-06-1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EDCF4-EC53-45ED-9657-3068B2115E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2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37270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23796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466713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626530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6776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DEDCF4-EC53-45ED-9657-3068B2115E42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94711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1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95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419791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4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1C88A-E4A6-4428-9F47-A7295BF19636}" type="datetimeFigureOut">
              <a:rPr lang="sv-SE" smtClean="0">
                <a:solidFill>
                  <a:prstClr val="white"/>
                </a:solidFill>
              </a:rPr>
              <a:pPr/>
              <a:t>2023-06-13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>
              <a:solidFill>
                <a:prstClr val="white"/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DC2AB-345F-4FFA-B9BD-B2A845E70329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7" name="Rubrik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8821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 3"/>
          <p:cNvGrpSpPr>
            <a:grpSpLocks noChangeAspect="1"/>
          </p:cNvGrpSpPr>
          <p:nvPr userDrawn="1"/>
        </p:nvGrpSpPr>
        <p:grpSpPr>
          <a:xfrm>
            <a:off x="3639864" y="2585968"/>
            <a:ext cx="4885918" cy="865270"/>
            <a:chOff x="887413" y="508000"/>
            <a:chExt cx="7566026" cy="1684338"/>
          </a:xfrm>
        </p:grpSpPr>
        <p:sp>
          <p:nvSpPr>
            <p:cNvPr id="5" name="Freeform 12"/>
            <p:cNvSpPr>
              <a:spLocks noEditPoints="1"/>
            </p:cNvSpPr>
            <p:nvPr userDrawn="1"/>
          </p:nvSpPr>
          <p:spPr bwMode="auto">
            <a:xfrm>
              <a:off x="4322763" y="527050"/>
              <a:ext cx="4127500" cy="1042988"/>
            </a:xfrm>
            <a:custGeom>
              <a:avLst/>
              <a:gdLst>
                <a:gd name="T0" fmla="*/ 93 w 1099"/>
                <a:gd name="T1" fmla="*/ 277 h 277"/>
                <a:gd name="T2" fmla="*/ 180 w 1099"/>
                <a:gd name="T3" fmla="*/ 204 h 277"/>
                <a:gd name="T4" fmla="*/ 130 w 1099"/>
                <a:gd name="T5" fmla="*/ 137 h 277"/>
                <a:gd name="T6" fmla="*/ 74 w 1099"/>
                <a:gd name="T7" fmla="*/ 119 h 277"/>
                <a:gd name="T8" fmla="*/ 25 w 1099"/>
                <a:gd name="T9" fmla="*/ 63 h 277"/>
                <a:gd name="T10" fmla="*/ 93 w 1099"/>
                <a:gd name="T11" fmla="*/ 11 h 277"/>
                <a:gd name="T12" fmla="*/ 164 w 1099"/>
                <a:gd name="T13" fmla="*/ 50 h 277"/>
                <a:gd name="T14" fmla="*/ 174 w 1099"/>
                <a:gd name="T15" fmla="*/ 45 h 277"/>
                <a:gd name="T16" fmla="*/ 91 w 1099"/>
                <a:gd name="T17" fmla="*/ 0 h 277"/>
                <a:gd name="T18" fmla="*/ 13 w 1099"/>
                <a:gd name="T19" fmla="*/ 65 h 277"/>
                <a:gd name="T20" fmla="*/ 67 w 1099"/>
                <a:gd name="T21" fmla="*/ 130 h 277"/>
                <a:gd name="T22" fmla="*/ 122 w 1099"/>
                <a:gd name="T23" fmla="*/ 147 h 277"/>
                <a:gd name="T24" fmla="*/ 168 w 1099"/>
                <a:gd name="T25" fmla="*/ 206 h 277"/>
                <a:gd name="T26" fmla="*/ 95 w 1099"/>
                <a:gd name="T27" fmla="*/ 266 h 277"/>
                <a:gd name="T28" fmla="*/ 12 w 1099"/>
                <a:gd name="T29" fmla="*/ 211 h 277"/>
                <a:gd name="T30" fmla="*/ 0 w 1099"/>
                <a:gd name="T31" fmla="*/ 215 h 277"/>
                <a:gd name="T32" fmla="*/ 93 w 1099"/>
                <a:gd name="T33" fmla="*/ 277 h 277"/>
                <a:gd name="T34" fmla="*/ 289 w 1099"/>
                <a:gd name="T35" fmla="*/ 272 h 277"/>
                <a:gd name="T36" fmla="*/ 302 w 1099"/>
                <a:gd name="T37" fmla="*/ 272 h 277"/>
                <a:gd name="T38" fmla="*/ 302 w 1099"/>
                <a:gd name="T39" fmla="*/ 16 h 277"/>
                <a:gd name="T40" fmla="*/ 397 w 1099"/>
                <a:gd name="T41" fmla="*/ 16 h 277"/>
                <a:gd name="T42" fmla="*/ 397 w 1099"/>
                <a:gd name="T43" fmla="*/ 5 h 277"/>
                <a:gd name="T44" fmla="*/ 193 w 1099"/>
                <a:gd name="T45" fmla="*/ 5 h 277"/>
                <a:gd name="T46" fmla="*/ 193 w 1099"/>
                <a:gd name="T47" fmla="*/ 16 h 277"/>
                <a:gd name="T48" fmla="*/ 289 w 1099"/>
                <a:gd name="T49" fmla="*/ 16 h 277"/>
                <a:gd name="T50" fmla="*/ 289 w 1099"/>
                <a:gd name="T51" fmla="*/ 272 h 277"/>
                <a:gd name="T52" fmla="*/ 432 w 1099"/>
                <a:gd name="T53" fmla="*/ 272 h 277"/>
                <a:gd name="T54" fmla="*/ 444 w 1099"/>
                <a:gd name="T55" fmla="*/ 272 h 277"/>
                <a:gd name="T56" fmla="*/ 444 w 1099"/>
                <a:gd name="T57" fmla="*/ 138 h 277"/>
                <a:gd name="T58" fmla="*/ 606 w 1099"/>
                <a:gd name="T59" fmla="*/ 138 h 277"/>
                <a:gd name="T60" fmla="*/ 606 w 1099"/>
                <a:gd name="T61" fmla="*/ 272 h 277"/>
                <a:gd name="T62" fmla="*/ 618 w 1099"/>
                <a:gd name="T63" fmla="*/ 272 h 277"/>
                <a:gd name="T64" fmla="*/ 618 w 1099"/>
                <a:gd name="T65" fmla="*/ 5 h 277"/>
                <a:gd name="T66" fmla="*/ 606 w 1099"/>
                <a:gd name="T67" fmla="*/ 5 h 277"/>
                <a:gd name="T68" fmla="*/ 606 w 1099"/>
                <a:gd name="T69" fmla="*/ 127 h 277"/>
                <a:gd name="T70" fmla="*/ 444 w 1099"/>
                <a:gd name="T71" fmla="*/ 127 h 277"/>
                <a:gd name="T72" fmla="*/ 444 w 1099"/>
                <a:gd name="T73" fmla="*/ 5 h 277"/>
                <a:gd name="T74" fmla="*/ 432 w 1099"/>
                <a:gd name="T75" fmla="*/ 5 h 277"/>
                <a:gd name="T76" fmla="*/ 432 w 1099"/>
                <a:gd name="T77" fmla="*/ 272 h 277"/>
                <a:gd name="T78" fmla="*/ 683 w 1099"/>
                <a:gd name="T79" fmla="*/ 272 h 277"/>
                <a:gd name="T80" fmla="*/ 841 w 1099"/>
                <a:gd name="T81" fmla="*/ 272 h 277"/>
                <a:gd name="T82" fmla="*/ 841 w 1099"/>
                <a:gd name="T83" fmla="*/ 261 h 277"/>
                <a:gd name="T84" fmla="*/ 695 w 1099"/>
                <a:gd name="T85" fmla="*/ 261 h 277"/>
                <a:gd name="T86" fmla="*/ 695 w 1099"/>
                <a:gd name="T87" fmla="*/ 5 h 277"/>
                <a:gd name="T88" fmla="*/ 683 w 1099"/>
                <a:gd name="T89" fmla="*/ 5 h 277"/>
                <a:gd name="T90" fmla="*/ 683 w 1099"/>
                <a:gd name="T91" fmla="*/ 272 h 277"/>
                <a:gd name="T92" fmla="*/ 874 w 1099"/>
                <a:gd name="T93" fmla="*/ 272 h 277"/>
                <a:gd name="T94" fmla="*/ 886 w 1099"/>
                <a:gd name="T95" fmla="*/ 272 h 277"/>
                <a:gd name="T96" fmla="*/ 886 w 1099"/>
                <a:gd name="T97" fmla="*/ 25 h 277"/>
                <a:gd name="T98" fmla="*/ 887 w 1099"/>
                <a:gd name="T99" fmla="*/ 25 h 277"/>
                <a:gd name="T100" fmla="*/ 981 w 1099"/>
                <a:gd name="T101" fmla="*/ 183 h 277"/>
                <a:gd name="T102" fmla="*/ 991 w 1099"/>
                <a:gd name="T103" fmla="*/ 183 h 277"/>
                <a:gd name="T104" fmla="*/ 1086 w 1099"/>
                <a:gd name="T105" fmla="*/ 25 h 277"/>
                <a:gd name="T106" fmla="*/ 1086 w 1099"/>
                <a:gd name="T107" fmla="*/ 25 h 277"/>
                <a:gd name="T108" fmla="*/ 1086 w 1099"/>
                <a:gd name="T109" fmla="*/ 272 h 277"/>
                <a:gd name="T110" fmla="*/ 1099 w 1099"/>
                <a:gd name="T111" fmla="*/ 272 h 277"/>
                <a:gd name="T112" fmla="*/ 1099 w 1099"/>
                <a:gd name="T113" fmla="*/ 5 h 277"/>
                <a:gd name="T114" fmla="*/ 1082 w 1099"/>
                <a:gd name="T115" fmla="*/ 5 h 277"/>
                <a:gd name="T116" fmla="*/ 987 w 1099"/>
                <a:gd name="T117" fmla="*/ 166 h 277"/>
                <a:gd name="T118" fmla="*/ 986 w 1099"/>
                <a:gd name="T119" fmla="*/ 166 h 277"/>
                <a:gd name="T120" fmla="*/ 889 w 1099"/>
                <a:gd name="T121" fmla="*/ 5 h 277"/>
                <a:gd name="T122" fmla="*/ 874 w 1099"/>
                <a:gd name="T123" fmla="*/ 5 h 277"/>
                <a:gd name="T124" fmla="*/ 874 w 1099"/>
                <a:gd name="T125" fmla="*/ 27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9" h="277">
                  <a:moveTo>
                    <a:pt x="93" y="277"/>
                  </a:moveTo>
                  <a:cubicBezTo>
                    <a:pt x="148" y="277"/>
                    <a:pt x="180" y="246"/>
                    <a:pt x="180" y="204"/>
                  </a:cubicBezTo>
                  <a:cubicBezTo>
                    <a:pt x="180" y="166"/>
                    <a:pt x="161" y="146"/>
                    <a:pt x="130" y="137"/>
                  </a:cubicBezTo>
                  <a:cubicBezTo>
                    <a:pt x="74" y="119"/>
                    <a:pt x="74" y="119"/>
                    <a:pt x="74" y="119"/>
                  </a:cubicBezTo>
                  <a:cubicBezTo>
                    <a:pt x="33" y="107"/>
                    <a:pt x="25" y="87"/>
                    <a:pt x="25" y="63"/>
                  </a:cubicBezTo>
                  <a:cubicBezTo>
                    <a:pt x="25" y="28"/>
                    <a:pt x="59" y="11"/>
                    <a:pt x="93" y="11"/>
                  </a:cubicBezTo>
                  <a:cubicBezTo>
                    <a:pt x="127" y="11"/>
                    <a:pt x="150" y="26"/>
                    <a:pt x="164" y="50"/>
                  </a:cubicBezTo>
                  <a:cubicBezTo>
                    <a:pt x="174" y="45"/>
                    <a:pt x="174" y="45"/>
                    <a:pt x="174" y="45"/>
                  </a:cubicBezTo>
                  <a:cubicBezTo>
                    <a:pt x="159" y="13"/>
                    <a:pt x="129" y="0"/>
                    <a:pt x="91" y="0"/>
                  </a:cubicBezTo>
                  <a:cubicBezTo>
                    <a:pt x="46" y="0"/>
                    <a:pt x="13" y="27"/>
                    <a:pt x="13" y="65"/>
                  </a:cubicBezTo>
                  <a:cubicBezTo>
                    <a:pt x="13" y="95"/>
                    <a:pt x="28" y="117"/>
                    <a:pt x="67" y="130"/>
                  </a:cubicBezTo>
                  <a:cubicBezTo>
                    <a:pt x="122" y="147"/>
                    <a:pt x="122" y="147"/>
                    <a:pt x="122" y="147"/>
                  </a:cubicBezTo>
                  <a:cubicBezTo>
                    <a:pt x="149" y="156"/>
                    <a:pt x="168" y="170"/>
                    <a:pt x="168" y="206"/>
                  </a:cubicBezTo>
                  <a:cubicBezTo>
                    <a:pt x="168" y="242"/>
                    <a:pt x="137" y="266"/>
                    <a:pt x="95" y="266"/>
                  </a:cubicBezTo>
                  <a:cubicBezTo>
                    <a:pt x="52" y="266"/>
                    <a:pt x="23" y="246"/>
                    <a:pt x="12" y="211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11" y="253"/>
                    <a:pt x="45" y="277"/>
                    <a:pt x="93" y="277"/>
                  </a:cubicBezTo>
                  <a:moveTo>
                    <a:pt x="289" y="272"/>
                  </a:moveTo>
                  <a:cubicBezTo>
                    <a:pt x="302" y="272"/>
                    <a:pt x="302" y="272"/>
                    <a:pt x="302" y="272"/>
                  </a:cubicBezTo>
                  <a:cubicBezTo>
                    <a:pt x="302" y="16"/>
                    <a:pt x="302" y="16"/>
                    <a:pt x="302" y="16"/>
                  </a:cubicBezTo>
                  <a:cubicBezTo>
                    <a:pt x="397" y="16"/>
                    <a:pt x="397" y="16"/>
                    <a:pt x="397" y="16"/>
                  </a:cubicBezTo>
                  <a:cubicBezTo>
                    <a:pt x="397" y="5"/>
                    <a:pt x="397" y="5"/>
                    <a:pt x="397" y="5"/>
                  </a:cubicBezTo>
                  <a:cubicBezTo>
                    <a:pt x="193" y="5"/>
                    <a:pt x="193" y="5"/>
                    <a:pt x="193" y="5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289" y="16"/>
                    <a:pt x="289" y="16"/>
                    <a:pt x="289" y="16"/>
                  </a:cubicBezTo>
                  <a:lnTo>
                    <a:pt x="289" y="272"/>
                  </a:lnTo>
                  <a:close/>
                  <a:moveTo>
                    <a:pt x="432" y="272"/>
                  </a:moveTo>
                  <a:cubicBezTo>
                    <a:pt x="444" y="272"/>
                    <a:pt x="444" y="272"/>
                    <a:pt x="444" y="272"/>
                  </a:cubicBezTo>
                  <a:cubicBezTo>
                    <a:pt x="444" y="138"/>
                    <a:pt x="444" y="138"/>
                    <a:pt x="444" y="138"/>
                  </a:cubicBezTo>
                  <a:cubicBezTo>
                    <a:pt x="606" y="138"/>
                    <a:pt x="606" y="138"/>
                    <a:pt x="606" y="138"/>
                  </a:cubicBezTo>
                  <a:cubicBezTo>
                    <a:pt x="606" y="272"/>
                    <a:pt x="606" y="272"/>
                    <a:pt x="606" y="272"/>
                  </a:cubicBezTo>
                  <a:cubicBezTo>
                    <a:pt x="618" y="272"/>
                    <a:pt x="618" y="272"/>
                    <a:pt x="618" y="272"/>
                  </a:cubicBezTo>
                  <a:cubicBezTo>
                    <a:pt x="618" y="5"/>
                    <a:pt x="618" y="5"/>
                    <a:pt x="618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127"/>
                    <a:pt x="606" y="127"/>
                    <a:pt x="606" y="127"/>
                  </a:cubicBezTo>
                  <a:cubicBezTo>
                    <a:pt x="444" y="127"/>
                    <a:pt x="444" y="127"/>
                    <a:pt x="444" y="127"/>
                  </a:cubicBezTo>
                  <a:cubicBezTo>
                    <a:pt x="444" y="5"/>
                    <a:pt x="444" y="5"/>
                    <a:pt x="444" y="5"/>
                  </a:cubicBezTo>
                  <a:cubicBezTo>
                    <a:pt x="432" y="5"/>
                    <a:pt x="432" y="5"/>
                    <a:pt x="432" y="5"/>
                  </a:cubicBezTo>
                  <a:lnTo>
                    <a:pt x="432" y="272"/>
                  </a:lnTo>
                  <a:close/>
                  <a:moveTo>
                    <a:pt x="683" y="272"/>
                  </a:moveTo>
                  <a:cubicBezTo>
                    <a:pt x="841" y="272"/>
                    <a:pt x="841" y="272"/>
                    <a:pt x="841" y="272"/>
                  </a:cubicBezTo>
                  <a:cubicBezTo>
                    <a:pt x="841" y="261"/>
                    <a:pt x="841" y="261"/>
                    <a:pt x="841" y="261"/>
                  </a:cubicBezTo>
                  <a:cubicBezTo>
                    <a:pt x="695" y="261"/>
                    <a:pt x="695" y="261"/>
                    <a:pt x="695" y="261"/>
                  </a:cubicBezTo>
                  <a:cubicBezTo>
                    <a:pt x="695" y="5"/>
                    <a:pt x="695" y="5"/>
                    <a:pt x="695" y="5"/>
                  </a:cubicBezTo>
                  <a:cubicBezTo>
                    <a:pt x="683" y="5"/>
                    <a:pt x="683" y="5"/>
                    <a:pt x="683" y="5"/>
                  </a:cubicBezTo>
                  <a:lnTo>
                    <a:pt x="683" y="272"/>
                  </a:lnTo>
                  <a:close/>
                  <a:moveTo>
                    <a:pt x="874" y="272"/>
                  </a:moveTo>
                  <a:cubicBezTo>
                    <a:pt x="886" y="272"/>
                    <a:pt x="886" y="272"/>
                    <a:pt x="886" y="272"/>
                  </a:cubicBezTo>
                  <a:cubicBezTo>
                    <a:pt x="886" y="25"/>
                    <a:pt x="886" y="25"/>
                    <a:pt x="886" y="25"/>
                  </a:cubicBezTo>
                  <a:cubicBezTo>
                    <a:pt x="887" y="25"/>
                    <a:pt x="887" y="25"/>
                    <a:pt x="887" y="25"/>
                  </a:cubicBezTo>
                  <a:cubicBezTo>
                    <a:pt x="981" y="183"/>
                    <a:pt x="981" y="183"/>
                    <a:pt x="981" y="183"/>
                  </a:cubicBezTo>
                  <a:cubicBezTo>
                    <a:pt x="991" y="183"/>
                    <a:pt x="991" y="183"/>
                    <a:pt x="991" y="183"/>
                  </a:cubicBezTo>
                  <a:cubicBezTo>
                    <a:pt x="1086" y="25"/>
                    <a:pt x="1086" y="25"/>
                    <a:pt x="1086" y="25"/>
                  </a:cubicBezTo>
                  <a:cubicBezTo>
                    <a:pt x="1086" y="25"/>
                    <a:pt x="1086" y="25"/>
                    <a:pt x="1086" y="25"/>
                  </a:cubicBezTo>
                  <a:cubicBezTo>
                    <a:pt x="1086" y="272"/>
                    <a:pt x="1086" y="272"/>
                    <a:pt x="1086" y="272"/>
                  </a:cubicBezTo>
                  <a:cubicBezTo>
                    <a:pt x="1099" y="272"/>
                    <a:pt x="1099" y="272"/>
                    <a:pt x="1099" y="272"/>
                  </a:cubicBezTo>
                  <a:cubicBezTo>
                    <a:pt x="1099" y="5"/>
                    <a:pt x="1099" y="5"/>
                    <a:pt x="1099" y="5"/>
                  </a:cubicBezTo>
                  <a:cubicBezTo>
                    <a:pt x="1082" y="5"/>
                    <a:pt x="1082" y="5"/>
                    <a:pt x="1082" y="5"/>
                  </a:cubicBezTo>
                  <a:cubicBezTo>
                    <a:pt x="987" y="166"/>
                    <a:pt x="987" y="166"/>
                    <a:pt x="987" y="166"/>
                  </a:cubicBezTo>
                  <a:cubicBezTo>
                    <a:pt x="986" y="166"/>
                    <a:pt x="986" y="166"/>
                    <a:pt x="986" y="166"/>
                  </a:cubicBezTo>
                  <a:cubicBezTo>
                    <a:pt x="889" y="5"/>
                    <a:pt x="889" y="5"/>
                    <a:pt x="889" y="5"/>
                  </a:cubicBezTo>
                  <a:cubicBezTo>
                    <a:pt x="874" y="5"/>
                    <a:pt x="874" y="5"/>
                    <a:pt x="874" y="5"/>
                  </a:cubicBezTo>
                  <a:lnTo>
                    <a:pt x="874" y="272"/>
                  </a:lnTo>
                  <a:close/>
                </a:path>
              </a:pathLst>
            </a:custGeom>
            <a:solidFill>
              <a:srgbClr val="09090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33"/>
            </a:p>
          </p:txBody>
        </p:sp>
        <p:sp>
          <p:nvSpPr>
            <p:cNvPr id="6" name="Freeform 13"/>
            <p:cNvSpPr>
              <a:spLocks noEditPoints="1"/>
            </p:cNvSpPr>
            <p:nvPr userDrawn="1"/>
          </p:nvSpPr>
          <p:spPr bwMode="auto">
            <a:xfrm>
              <a:off x="3789363" y="508000"/>
              <a:ext cx="390525" cy="1077913"/>
            </a:xfrm>
            <a:custGeom>
              <a:avLst/>
              <a:gdLst>
                <a:gd name="T0" fmla="*/ 0 w 246"/>
                <a:gd name="T1" fmla="*/ 679 h 679"/>
                <a:gd name="T2" fmla="*/ 55 w 246"/>
                <a:gd name="T3" fmla="*/ 679 h 679"/>
                <a:gd name="T4" fmla="*/ 55 w 246"/>
                <a:gd name="T5" fmla="*/ 0 h 679"/>
                <a:gd name="T6" fmla="*/ 0 w 246"/>
                <a:gd name="T7" fmla="*/ 0 h 679"/>
                <a:gd name="T8" fmla="*/ 0 w 246"/>
                <a:gd name="T9" fmla="*/ 679 h 679"/>
                <a:gd name="T10" fmla="*/ 95 w 246"/>
                <a:gd name="T11" fmla="*/ 679 h 679"/>
                <a:gd name="T12" fmla="*/ 152 w 246"/>
                <a:gd name="T13" fmla="*/ 679 h 679"/>
                <a:gd name="T14" fmla="*/ 152 w 246"/>
                <a:gd name="T15" fmla="*/ 0 h 679"/>
                <a:gd name="T16" fmla="*/ 95 w 246"/>
                <a:gd name="T17" fmla="*/ 0 h 679"/>
                <a:gd name="T18" fmla="*/ 95 w 246"/>
                <a:gd name="T19" fmla="*/ 679 h 679"/>
                <a:gd name="T20" fmla="*/ 190 w 246"/>
                <a:gd name="T21" fmla="*/ 679 h 679"/>
                <a:gd name="T22" fmla="*/ 246 w 246"/>
                <a:gd name="T23" fmla="*/ 679 h 679"/>
                <a:gd name="T24" fmla="*/ 246 w 246"/>
                <a:gd name="T25" fmla="*/ 0 h 679"/>
                <a:gd name="T26" fmla="*/ 190 w 246"/>
                <a:gd name="T27" fmla="*/ 0 h 679"/>
                <a:gd name="T28" fmla="*/ 190 w 246"/>
                <a:gd name="T29" fmla="*/ 679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6" h="679">
                  <a:moveTo>
                    <a:pt x="0" y="679"/>
                  </a:moveTo>
                  <a:lnTo>
                    <a:pt x="55" y="679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679"/>
                  </a:lnTo>
                  <a:close/>
                  <a:moveTo>
                    <a:pt x="95" y="679"/>
                  </a:moveTo>
                  <a:lnTo>
                    <a:pt x="152" y="679"/>
                  </a:lnTo>
                  <a:lnTo>
                    <a:pt x="152" y="0"/>
                  </a:lnTo>
                  <a:lnTo>
                    <a:pt x="95" y="0"/>
                  </a:lnTo>
                  <a:lnTo>
                    <a:pt x="95" y="679"/>
                  </a:lnTo>
                  <a:close/>
                  <a:moveTo>
                    <a:pt x="190" y="679"/>
                  </a:moveTo>
                  <a:lnTo>
                    <a:pt x="246" y="679"/>
                  </a:lnTo>
                  <a:lnTo>
                    <a:pt x="246" y="0"/>
                  </a:lnTo>
                  <a:lnTo>
                    <a:pt x="190" y="0"/>
                  </a:lnTo>
                  <a:lnTo>
                    <a:pt x="190" y="679"/>
                  </a:lnTo>
                  <a:close/>
                </a:path>
              </a:pathLst>
            </a:custGeom>
            <a:solidFill>
              <a:srgbClr val="89B72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33"/>
            </a:p>
          </p:txBody>
        </p:sp>
        <p:sp>
          <p:nvSpPr>
            <p:cNvPr id="7" name="Freeform 14"/>
            <p:cNvSpPr>
              <a:spLocks noEditPoints="1"/>
            </p:cNvSpPr>
            <p:nvPr userDrawn="1"/>
          </p:nvSpPr>
          <p:spPr bwMode="auto">
            <a:xfrm>
              <a:off x="887413" y="508000"/>
              <a:ext cx="2733675" cy="1228725"/>
            </a:xfrm>
            <a:custGeom>
              <a:avLst/>
              <a:gdLst>
                <a:gd name="T0" fmla="*/ 196 w 728"/>
                <a:gd name="T1" fmla="*/ 326 h 326"/>
                <a:gd name="T2" fmla="*/ 231 w 728"/>
                <a:gd name="T3" fmla="*/ 289 h 326"/>
                <a:gd name="T4" fmla="*/ 188 w 728"/>
                <a:gd name="T5" fmla="*/ 264 h 326"/>
                <a:gd name="T6" fmla="*/ 225 w 728"/>
                <a:gd name="T7" fmla="*/ 186 h 326"/>
                <a:gd name="T8" fmla="*/ 225 w 728"/>
                <a:gd name="T9" fmla="*/ 102 h 326"/>
                <a:gd name="T10" fmla="*/ 112 w 728"/>
                <a:gd name="T11" fmla="*/ 0 h 326"/>
                <a:gd name="T12" fmla="*/ 0 w 728"/>
                <a:gd name="T13" fmla="*/ 103 h 326"/>
                <a:gd name="T14" fmla="*/ 0 w 728"/>
                <a:gd name="T15" fmla="*/ 192 h 326"/>
                <a:gd name="T16" fmla="*/ 114 w 728"/>
                <a:gd name="T17" fmla="*/ 289 h 326"/>
                <a:gd name="T18" fmla="*/ 138 w 728"/>
                <a:gd name="T19" fmla="*/ 286 h 326"/>
                <a:gd name="T20" fmla="*/ 196 w 728"/>
                <a:gd name="T21" fmla="*/ 326 h 326"/>
                <a:gd name="T22" fmla="*/ 114 w 728"/>
                <a:gd name="T23" fmla="*/ 243 h 326"/>
                <a:gd name="T24" fmla="*/ 52 w 728"/>
                <a:gd name="T25" fmla="*/ 190 h 326"/>
                <a:gd name="T26" fmla="*/ 52 w 728"/>
                <a:gd name="T27" fmla="*/ 100 h 326"/>
                <a:gd name="T28" fmla="*/ 112 w 728"/>
                <a:gd name="T29" fmla="*/ 46 h 326"/>
                <a:gd name="T30" fmla="*/ 174 w 728"/>
                <a:gd name="T31" fmla="*/ 99 h 326"/>
                <a:gd name="T32" fmla="*/ 174 w 728"/>
                <a:gd name="T33" fmla="*/ 188 h 326"/>
                <a:gd name="T34" fmla="*/ 114 w 728"/>
                <a:gd name="T35" fmla="*/ 243 h 326"/>
                <a:gd name="T36" fmla="*/ 271 w 728"/>
                <a:gd name="T37" fmla="*/ 284 h 326"/>
                <a:gd name="T38" fmla="*/ 323 w 728"/>
                <a:gd name="T39" fmla="*/ 284 h 326"/>
                <a:gd name="T40" fmla="*/ 323 w 728"/>
                <a:gd name="T41" fmla="*/ 179 h 326"/>
                <a:gd name="T42" fmla="*/ 368 w 728"/>
                <a:gd name="T43" fmla="*/ 179 h 326"/>
                <a:gd name="T44" fmla="*/ 434 w 728"/>
                <a:gd name="T45" fmla="*/ 284 h 326"/>
                <a:gd name="T46" fmla="*/ 491 w 728"/>
                <a:gd name="T47" fmla="*/ 284 h 326"/>
                <a:gd name="T48" fmla="*/ 421 w 728"/>
                <a:gd name="T49" fmla="*/ 174 h 326"/>
                <a:gd name="T50" fmla="*/ 477 w 728"/>
                <a:gd name="T51" fmla="*/ 92 h 326"/>
                <a:gd name="T52" fmla="*/ 382 w 728"/>
                <a:gd name="T53" fmla="*/ 4 h 326"/>
                <a:gd name="T54" fmla="*/ 271 w 728"/>
                <a:gd name="T55" fmla="*/ 4 h 326"/>
                <a:gd name="T56" fmla="*/ 271 w 728"/>
                <a:gd name="T57" fmla="*/ 284 h 326"/>
                <a:gd name="T58" fmla="*/ 323 w 728"/>
                <a:gd name="T59" fmla="*/ 136 h 326"/>
                <a:gd name="T60" fmla="*/ 323 w 728"/>
                <a:gd name="T61" fmla="*/ 48 h 326"/>
                <a:gd name="T62" fmla="*/ 375 w 728"/>
                <a:gd name="T63" fmla="*/ 48 h 326"/>
                <a:gd name="T64" fmla="*/ 426 w 728"/>
                <a:gd name="T65" fmla="*/ 92 h 326"/>
                <a:gd name="T66" fmla="*/ 375 w 728"/>
                <a:gd name="T67" fmla="*/ 136 h 326"/>
                <a:gd name="T68" fmla="*/ 323 w 728"/>
                <a:gd name="T69" fmla="*/ 136 h 326"/>
                <a:gd name="T70" fmla="*/ 623 w 728"/>
                <a:gd name="T71" fmla="*/ 289 h 326"/>
                <a:gd name="T72" fmla="*/ 728 w 728"/>
                <a:gd name="T73" fmla="*/ 197 h 326"/>
                <a:gd name="T74" fmla="*/ 728 w 728"/>
                <a:gd name="T75" fmla="*/ 188 h 326"/>
                <a:gd name="T76" fmla="*/ 679 w 728"/>
                <a:gd name="T77" fmla="*/ 188 h 326"/>
                <a:gd name="T78" fmla="*/ 679 w 728"/>
                <a:gd name="T79" fmla="*/ 192 h 326"/>
                <a:gd name="T80" fmla="*/ 623 w 728"/>
                <a:gd name="T81" fmla="*/ 243 h 326"/>
                <a:gd name="T82" fmla="*/ 561 w 728"/>
                <a:gd name="T83" fmla="*/ 190 h 326"/>
                <a:gd name="T84" fmla="*/ 561 w 728"/>
                <a:gd name="T85" fmla="*/ 100 h 326"/>
                <a:gd name="T86" fmla="*/ 621 w 728"/>
                <a:gd name="T87" fmla="*/ 46 h 326"/>
                <a:gd name="T88" fmla="*/ 679 w 728"/>
                <a:gd name="T89" fmla="*/ 97 h 326"/>
                <a:gd name="T90" fmla="*/ 679 w 728"/>
                <a:gd name="T91" fmla="*/ 101 h 326"/>
                <a:gd name="T92" fmla="*/ 728 w 728"/>
                <a:gd name="T93" fmla="*/ 101 h 326"/>
                <a:gd name="T94" fmla="*/ 728 w 728"/>
                <a:gd name="T95" fmla="*/ 92 h 326"/>
                <a:gd name="T96" fmla="*/ 621 w 728"/>
                <a:gd name="T97" fmla="*/ 0 h 326"/>
                <a:gd name="T98" fmla="*/ 510 w 728"/>
                <a:gd name="T99" fmla="*/ 103 h 326"/>
                <a:gd name="T100" fmla="*/ 510 w 728"/>
                <a:gd name="T101" fmla="*/ 192 h 326"/>
                <a:gd name="T102" fmla="*/ 623 w 728"/>
                <a:gd name="T103" fmla="*/ 28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8" h="326">
                  <a:moveTo>
                    <a:pt x="196" y="326"/>
                  </a:moveTo>
                  <a:cubicBezTo>
                    <a:pt x="231" y="289"/>
                    <a:pt x="231" y="289"/>
                    <a:pt x="231" y="289"/>
                  </a:cubicBezTo>
                  <a:cubicBezTo>
                    <a:pt x="188" y="264"/>
                    <a:pt x="188" y="264"/>
                    <a:pt x="188" y="264"/>
                  </a:cubicBezTo>
                  <a:cubicBezTo>
                    <a:pt x="210" y="247"/>
                    <a:pt x="225" y="220"/>
                    <a:pt x="225" y="186"/>
                  </a:cubicBezTo>
                  <a:cubicBezTo>
                    <a:pt x="225" y="102"/>
                    <a:pt x="225" y="102"/>
                    <a:pt x="225" y="102"/>
                  </a:cubicBezTo>
                  <a:cubicBezTo>
                    <a:pt x="225" y="39"/>
                    <a:pt x="172" y="0"/>
                    <a:pt x="112" y="0"/>
                  </a:cubicBezTo>
                  <a:cubicBezTo>
                    <a:pt x="56" y="0"/>
                    <a:pt x="0" y="37"/>
                    <a:pt x="0" y="103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55"/>
                    <a:pt x="53" y="289"/>
                    <a:pt x="114" y="289"/>
                  </a:cubicBezTo>
                  <a:cubicBezTo>
                    <a:pt x="122" y="289"/>
                    <a:pt x="130" y="288"/>
                    <a:pt x="138" y="286"/>
                  </a:cubicBezTo>
                  <a:lnTo>
                    <a:pt x="196" y="326"/>
                  </a:lnTo>
                  <a:close/>
                  <a:moveTo>
                    <a:pt x="114" y="243"/>
                  </a:moveTo>
                  <a:cubicBezTo>
                    <a:pt x="81" y="243"/>
                    <a:pt x="52" y="223"/>
                    <a:pt x="52" y="19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60"/>
                    <a:pt x="85" y="46"/>
                    <a:pt x="112" y="46"/>
                  </a:cubicBezTo>
                  <a:cubicBezTo>
                    <a:pt x="145" y="46"/>
                    <a:pt x="174" y="65"/>
                    <a:pt x="174" y="99"/>
                  </a:cubicBezTo>
                  <a:cubicBezTo>
                    <a:pt x="174" y="188"/>
                    <a:pt x="174" y="188"/>
                    <a:pt x="174" y="188"/>
                  </a:cubicBezTo>
                  <a:cubicBezTo>
                    <a:pt x="174" y="229"/>
                    <a:pt x="140" y="243"/>
                    <a:pt x="114" y="243"/>
                  </a:cubicBezTo>
                  <a:moveTo>
                    <a:pt x="271" y="284"/>
                  </a:moveTo>
                  <a:cubicBezTo>
                    <a:pt x="323" y="284"/>
                    <a:pt x="323" y="284"/>
                    <a:pt x="323" y="284"/>
                  </a:cubicBezTo>
                  <a:cubicBezTo>
                    <a:pt x="323" y="179"/>
                    <a:pt x="323" y="179"/>
                    <a:pt x="323" y="179"/>
                  </a:cubicBezTo>
                  <a:cubicBezTo>
                    <a:pt x="368" y="179"/>
                    <a:pt x="368" y="179"/>
                    <a:pt x="368" y="179"/>
                  </a:cubicBezTo>
                  <a:cubicBezTo>
                    <a:pt x="434" y="284"/>
                    <a:pt x="434" y="284"/>
                    <a:pt x="434" y="284"/>
                  </a:cubicBezTo>
                  <a:cubicBezTo>
                    <a:pt x="491" y="284"/>
                    <a:pt x="491" y="284"/>
                    <a:pt x="491" y="284"/>
                  </a:cubicBezTo>
                  <a:cubicBezTo>
                    <a:pt x="421" y="174"/>
                    <a:pt x="421" y="174"/>
                    <a:pt x="421" y="174"/>
                  </a:cubicBezTo>
                  <a:cubicBezTo>
                    <a:pt x="459" y="160"/>
                    <a:pt x="477" y="126"/>
                    <a:pt x="477" y="92"/>
                  </a:cubicBezTo>
                  <a:cubicBezTo>
                    <a:pt x="477" y="35"/>
                    <a:pt x="434" y="4"/>
                    <a:pt x="382" y="4"/>
                  </a:cubicBezTo>
                  <a:cubicBezTo>
                    <a:pt x="271" y="4"/>
                    <a:pt x="271" y="4"/>
                    <a:pt x="271" y="4"/>
                  </a:cubicBezTo>
                  <a:lnTo>
                    <a:pt x="271" y="284"/>
                  </a:lnTo>
                  <a:close/>
                  <a:moveTo>
                    <a:pt x="323" y="136"/>
                  </a:moveTo>
                  <a:cubicBezTo>
                    <a:pt x="323" y="48"/>
                    <a:pt x="323" y="48"/>
                    <a:pt x="323" y="48"/>
                  </a:cubicBezTo>
                  <a:cubicBezTo>
                    <a:pt x="375" y="48"/>
                    <a:pt x="375" y="48"/>
                    <a:pt x="375" y="48"/>
                  </a:cubicBezTo>
                  <a:cubicBezTo>
                    <a:pt x="404" y="48"/>
                    <a:pt x="426" y="59"/>
                    <a:pt x="426" y="92"/>
                  </a:cubicBezTo>
                  <a:cubicBezTo>
                    <a:pt x="426" y="121"/>
                    <a:pt x="406" y="136"/>
                    <a:pt x="375" y="136"/>
                  </a:cubicBezTo>
                  <a:lnTo>
                    <a:pt x="323" y="136"/>
                  </a:lnTo>
                  <a:close/>
                  <a:moveTo>
                    <a:pt x="623" y="289"/>
                  </a:moveTo>
                  <a:cubicBezTo>
                    <a:pt x="677" y="289"/>
                    <a:pt x="728" y="259"/>
                    <a:pt x="728" y="197"/>
                  </a:cubicBezTo>
                  <a:cubicBezTo>
                    <a:pt x="728" y="188"/>
                    <a:pt x="728" y="188"/>
                    <a:pt x="728" y="188"/>
                  </a:cubicBezTo>
                  <a:cubicBezTo>
                    <a:pt x="679" y="188"/>
                    <a:pt x="679" y="188"/>
                    <a:pt x="679" y="188"/>
                  </a:cubicBezTo>
                  <a:cubicBezTo>
                    <a:pt x="679" y="192"/>
                    <a:pt x="679" y="192"/>
                    <a:pt x="679" y="192"/>
                  </a:cubicBezTo>
                  <a:cubicBezTo>
                    <a:pt x="679" y="229"/>
                    <a:pt x="649" y="243"/>
                    <a:pt x="623" y="243"/>
                  </a:cubicBezTo>
                  <a:cubicBezTo>
                    <a:pt x="590" y="243"/>
                    <a:pt x="561" y="223"/>
                    <a:pt x="561" y="190"/>
                  </a:cubicBezTo>
                  <a:cubicBezTo>
                    <a:pt x="561" y="100"/>
                    <a:pt x="561" y="100"/>
                    <a:pt x="561" y="100"/>
                  </a:cubicBezTo>
                  <a:cubicBezTo>
                    <a:pt x="561" y="60"/>
                    <a:pt x="595" y="46"/>
                    <a:pt x="621" y="46"/>
                  </a:cubicBezTo>
                  <a:cubicBezTo>
                    <a:pt x="647" y="46"/>
                    <a:pt x="679" y="60"/>
                    <a:pt x="679" y="97"/>
                  </a:cubicBezTo>
                  <a:cubicBezTo>
                    <a:pt x="679" y="101"/>
                    <a:pt x="679" y="101"/>
                    <a:pt x="679" y="101"/>
                  </a:cubicBezTo>
                  <a:cubicBezTo>
                    <a:pt x="728" y="101"/>
                    <a:pt x="728" y="101"/>
                    <a:pt x="728" y="101"/>
                  </a:cubicBezTo>
                  <a:cubicBezTo>
                    <a:pt x="728" y="92"/>
                    <a:pt x="728" y="92"/>
                    <a:pt x="728" y="92"/>
                  </a:cubicBezTo>
                  <a:cubicBezTo>
                    <a:pt x="728" y="30"/>
                    <a:pt x="675" y="0"/>
                    <a:pt x="621" y="0"/>
                  </a:cubicBezTo>
                  <a:cubicBezTo>
                    <a:pt x="560" y="0"/>
                    <a:pt x="510" y="37"/>
                    <a:pt x="510" y="103"/>
                  </a:cubicBezTo>
                  <a:cubicBezTo>
                    <a:pt x="510" y="192"/>
                    <a:pt x="510" y="192"/>
                    <a:pt x="510" y="192"/>
                  </a:cubicBezTo>
                  <a:cubicBezTo>
                    <a:pt x="510" y="255"/>
                    <a:pt x="562" y="289"/>
                    <a:pt x="623" y="289"/>
                  </a:cubicBezTo>
                </a:path>
              </a:pathLst>
            </a:custGeom>
            <a:solidFill>
              <a:srgbClr val="090908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33"/>
            </a:p>
          </p:txBody>
        </p:sp>
        <p:sp>
          <p:nvSpPr>
            <p:cNvPr id="8" name="Freeform 15"/>
            <p:cNvSpPr>
              <a:spLocks noEditPoints="1"/>
            </p:cNvSpPr>
            <p:nvPr userDrawn="1"/>
          </p:nvSpPr>
          <p:spPr bwMode="auto">
            <a:xfrm>
              <a:off x="942976" y="1909763"/>
              <a:ext cx="7510463" cy="282575"/>
            </a:xfrm>
            <a:custGeom>
              <a:avLst/>
              <a:gdLst>
                <a:gd name="T0" fmla="*/ 1984 w 2000"/>
                <a:gd name="T1" fmla="*/ 19 h 75"/>
                <a:gd name="T2" fmla="*/ 1959 w 2000"/>
                <a:gd name="T3" fmla="*/ 48 h 75"/>
                <a:gd name="T4" fmla="*/ 1866 w 2000"/>
                <a:gd name="T5" fmla="*/ 51 h 75"/>
                <a:gd name="T6" fmla="*/ 1839 w 2000"/>
                <a:gd name="T7" fmla="*/ 45 h 75"/>
                <a:gd name="T8" fmla="*/ 1853 w 2000"/>
                <a:gd name="T9" fmla="*/ 75 h 75"/>
                <a:gd name="T10" fmla="*/ 1762 w 2000"/>
                <a:gd name="T11" fmla="*/ 15 h 75"/>
                <a:gd name="T12" fmla="*/ 1766 w 2000"/>
                <a:gd name="T13" fmla="*/ 31 h 75"/>
                <a:gd name="T14" fmla="*/ 1760 w 2000"/>
                <a:gd name="T15" fmla="*/ 45 h 75"/>
                <a:gd name="T16" fmla="*/ 1783 w 2000"/>
                <a:gd name="T17" fmla="*/ 7 h 75"/>
                <a:gd name="T18" fmla="*/ 1687 w 2000"/>
                <a:gd name="T19" fmla="*/ 16 h 75"/>
                <a:gd name="T20" fmla="*/ 1554 w 2000"/>
                <a:gd name="T21" fmla="*/ 73 h 75"/>
                <a:gd name="T22" fmla="*/ 1605 w 2000"/>
                <a:gd name="T23" fmla="*/ 2 h 75"/>
                <a:gd name="T24" fmla="*/ 1519 w 2000"/>
                <a:gd name="T25" fmla="*/ 73 h 75"/>
                <a:gd name="T26" fmla="*/ 1485 w 2000"/>
                <a:gd name="T27" fmla="*/ 16 h 75"/>
                <a:gd name="T28" fmla="*/ 1426 w 2000"/>
                <a:gd name="T29" fmla="*/ 3 h 75"/>
                <a:gd name="T30" fmla="*/ 1378 w 2000"/>
                <a:gd name="T31" fmla="*/ 53 h 75"/>
                <a:gd name="T32" fmla="*/ 1420 w 2000"/>
                <a:gd name="T33" fmla="*/ 58 h 75"/>
                <a:gd name="T34" fmla="*/ 1397 w 2000"/>
                <a:gd name="T35" fmla="*/ 21 h 75"/>
                <a:gd name="T36" fmla="*/ 1318 w 2000"/>
                <a:gd name="T37" fmla="*/ 15 h 75"/>
                <a:gd name="T38" fmla="*/ 1321 w 2000"/>
                <a:gd name="T39" fmla="*/ 31 h 75"/>
                <a:gd name="T40" fmla="*/ 1316 w 2000"/>
                <a:gd name="T41" fmla="*/ 45 h 75"/>
                <a:gd name="T42" fmla="*/ 1338 w 2000"/>
                <a:gd name="T43" fmla="*/ 7 h 75"/>
                <a:gd name="T44" fmla="*/ 1257 w 2000"/>
                <a:gd name="T45" fmla="*/ 59 h 75"/>
                <a:gd name="T46" fmla="*/ 1256 w 2000"/>
                <a:gd name="T47" fmla="*/ 16 h 75"/>
                <a:gd name="T48" fmla="*/ 1178 w 2000"/>
                <a:gd name="T49" fmla="*/ 16 h 75"/>
                <a:gd name="T50" fmla="*/ 1083 w 2000"/>
                <a:gd name="T51" fmla="*/ 2 h 75"/>
                <a:gd name="T52" fmla="*/ 1053 w 2000"/>
                <a:gd name="T53" fmla="*/ 39 h 75"/>
                <a:gd name="T54" fmla="*/ 1071 w 2000"/>
                <a:gd name="T55" fmla="*/ 60 h 75"/>
                <a:gd name="T56" fmla="*/ 1076 w 2000"/>
                <a:gd name="T57" fmla="*/ 73 h 75"/>
                <a:gd name="T58" fmla="*/ 1069 w 2000"/>
                <a:gd name="T59" fmla="*/ 30 h 75"/>
                <a:gd name="T60" fmla="*/ 1077 w 2000"/>
                <a:gd name="T61" fmla="*/ 16 h 75"/>
                <a:gd name="T62" fmla="*/ 995 w 2000"/>
                <a:gd name="T63" fmla="*/ 73 h 75"/>
                <a:gd name="T64" fmla="*/ 929 w 2000"/>
                <a:gd name="T65" fmla="*/ 60 h 75"/>
                <a:gd name="T66" fmla="*/ 920 w 2000"/>
                <a:gd name="T67" fmla="*/ 16 h 75"/>
                <a:gd name="T68" fmla="*/ 914 w 2000"/>
                <a:gd name="T69" fmla="*/ 3 h 75"/>
                <a:gd name="T70" fmla="*/ 929 w 2000"/>
                <a:gd name="T71" fmla="*/ 75 h 75"/>
                <a:gd name="T72" fmla="*/ 827 w 2000"/>
                <a:gd name="T73" fmla="*/ 59 h 75"/>
                <a:gd name="T74" fmla="*/ 859 w 2000"/>
                <a:gd name="T75" fmla="*/ 2 h 75"/>
                <a:gd name="T76" fmla="*/ 760 w 2000"/>
                <a:gd name="T77" fmla="*/ 19 h 75"/>
                <a:gd name="T78" fmla="*/ 739 w 2000"/>
                <a:gd name="T79" fmla="*/ 15 h 75"/>
                <a:gd name="T80" fmla="*/ 762 w 2000"/>
                <a:gd name="T81" fmla="*/ 43 h 75"/>
                <a:gd name="T82" fmla="*/ 723 w 2000"/>
                <a:gd name="T83" fmla="*/ 2 h 75"/>
                <a:gd name="T84" fmla="*/ 643 w 2000"/>
                <a:gd name="T85" fmla="*/ 13 h 75"/>
                <a:gd name="T86" fmla="*/ 674 w 2000"/>
                <a:gd name="T87" fmla="*/ 53 h 75"/>
                <a:gd name="T88" fmla="*/ 638 w 2000"/>
                <a:gd name="T89" fmla="*/ 66 h 75"/>
                <a:gd name="T90" fmla="*/ 687 w 2000"/>
                <a:gd name="T91" fmla="*/ 41 h 75"/>
                <a:gd name="T92" fmla="*/ 661 w 2000"/>
                <a:gd name="T93" fmla="*/ 16 h 75"/>
                <a:gd name="T94" fmla="*/ 593 w 2000"/>
                <a:gd name="T95" fmla="*/ 73 h 75"/>
                <a:gd name="T96" fmla="*/ 577 w 2000"/>
                <a:gd name="T97" fmla="*/ 73 h 75"/>
                <a:gd name="T98" fmla="*/ 526 w 2000"/>
                <a:gd name="T99" fmla="*/ 30 h 75"/>
                <a:gd name="T100" fmla="*/ 413 w 2000"/>
                <a:gd name="T101" fmla="*/ 73 h 75"/>
                <a:gd name="T102" fmla="*/ 413 w 2000"/>
                <a:gd name="T103" fmla="*/ 16 h 75"/>
                <a:gd name="T104" fmla="*/ 274 w 2000"/>
                <a:gd name="T105" fmla="*/ 73 h 75"/>
                <a:gd name="T106" fmla="*/ 215 w 2000"/>
                <a:gd name="T107" fmla="*/ 45 h 75"/>
                <a:gd name="T108" fmla="*/ 220 w 2000"/>
                <a:gd name="T109" fmla="*/ 58 h 75"/>
                <a:gd name="T110" fmla="*/ 127 w 2000"/>
                <a:gd name="T111" fmla="*/ 73 h 75"/>
                <a:gd name="T112" fmla="*/ 114 w 2000"/>
                <a:gd name="T113" fmla="*/ 73 h 75"/>
                <a:gd name="T114" fmla="*/ 63 w 2000"/>
                <a:gd name="T11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0" h="75">
                  <a:moveTo>
                    <a:pt x="1919" y="73"/>
                  </a:moveTo>
                  <a:cubicBezTo>
                    <a:pt x="1935" y="73"/>
                    <a:pt x="1935" y="73"/>
                    <a:pt x="1935" y="73"/>
                  </a:cubicBezTo>
                  <a:cubicBezTo>
                    <a:pt x="1935" y="19"/>
                    <a:pt x="1935" y="19"/>
                    <a:pt x="1935" y="19"/>
                  </a:cubicBezTo>
                  <a:cubicBezTo>
                    <a:pt x="1935" y="19"/>
                    <a:pt x="1935" y="19"/>
                    <a:pt x="1935" y="19"/>
                  </a:cubicBezTo>
                  <a:cubicBezTo>
                    <a:pt x="1953" y="73"/>
                    <a:pt x="1953" y="73"/>
                    <a:pt x="1953" y="73"/>
                  </a:cubicBezTo>
                  <a:cubicBezTo>
                    <a:pt x="1965" y="73"/>
                    <a:pt x="1965" y="73"/>
                    <a:pt x="1965" y="73"/>
                  </a:cubicBezTo>
                  <a:cubicBezTo>
                    <a:pt x="1984" y="19"/>
                    <a:pt x="1984" y="19"/>
                    <a:pt x="1984" y="19"/>
                  </a:cubicBezTo>
                  <a:cubicBezTo>
                    <a:pt x="1984" y="19"/>
                    <a:pt x="1984" y="19"/>
                    <a:pt x="1984" y="19"/>
                  </a:cubicBezTo>
                  <a:cubicBezTo>
                    <a:pt x="1984" y="73"/>
                    <a:pt x="1984" y="73"/>
                    <a:pt x="1984" y="73"/>
                  </a:cubicBezTo>
                  <a:cubicBezTo>
                    <a:pt x="2000" y="73"/>
                    <a:pt x="2000" y="73"/>
                    <a:pt x="2000" y="73"/>
                  </a:cubicBezTo>
                  <a:cubicBezTo>
                    <a:pt x="2000" y="2"/>
                    <a:pt x="2000" y="2"/>
                    <a:pt x="2000" y="2"/>
                  </a:cubicBezTo>
                  <a:cubicBezTo>
                    <a:pt x="1976" y="2"/>
                    <a:pt x="1976" y="2"/>
                    <a:pt x="1976" y="2"/>
                  </a:cubicBezTo>
                  <a:cubicBezTo>
                    <a:pt x="1960" y="48"/>
                    <a:pt x="1960" y="48"/>
                    <a:pt x="1960" y="48"/>
                  </a:cubicBezTo>
                  <a:cubicBezTo>
                    <a:pt x="1959" y="48"/>
                    <a:pt x="1959" y="48"/>
                    <a:pt x="1959" y="48"/>
                  </a:cubicBezTo>
                  <a:cubicBezTo>
                    <a:pt x="1943" y="2"/>
                    <a:pt x="1943" y="2"/>
                    <a:pt x="1943" y="2"/>
                  </a:cubicBezTo>
                  <a:cubicBezTo>
                    <a:pt x="1919" y="2"/>
                    <a:pt x="1919" y="2"/>
                    <a:pt x="1919" y="2"/>
                  </a:cubicBezTo>
                  <a:lnTo>
                    <a:pt x="1919" y="73"/>
                  </a:lnTo>
                  <a:close/>
                  <a:moveTo>
                    <a:pt x="1883" y="2"/>
                  </a:moveTo>
                  <a:cubicBezTo>
                    <a:pt x="1867" y="2"/>
                    <a:pt x="1867" y="2"/>
                    <a:pt x="1867" y="2"/>
                  </a:cubicBezTo>
                  <a:cubicBezTo>
                    <a:pt x="1867" y="45"/>
                    <a:pt x="1867" y="45"/>
                    <a:pt x="1867" y="45"/>
                  </a:cubicBezTo>
                  <a:cubicBezTo>
                    <a:pt x="1867" y="47"/>
                    <a:pt x="1867" y="49"/>
                    <a:pt x="1866" y="51"/>
                  </a:cubicBezTo>
                  <a:cubicBezTo>
                    <a:pt x="1865" y="53"/>
                    <a:pt x="1864" y="55"/>
                    <a:pt x="1863" y="56"/>
                  </a:cubicBezTo>
                  <a:cubicBezTo>
                    <a:pt x="1862" y="57"/>
                    <a:pt x="1860" y="58"/>
                    <a:pt x="1859" y="59"/>
                  </a:cubicBezTo>
                  <a:cubicBezTo>
                    <a:pt x="1857" y="60"/>
                    <a:pt x="1855" y="60"/>
                    <a:pt x="1853" y="60"/>
                  </a:cubicBezTo>
                  <a:cubicBezTo>
                    <a:pt x="1851" y="60"/>
                    <a:pt x="1849" y="60"/>
                    <a:pt x="1847" y="59"/>
                  </a:cubicBezTo>
                  <a:cubicBezTo>
                    <a:pt x="1845" y="58"/>
                    <a:pt x="1844" y="57"/>
                    <a:pt x="1843" y="56"/>
                  </a:cubicBezTo>
                  <a:cubicBezTo>
                    <a:pt x="1841" y="55"/>
                    <a:pt x="1840" y="53"/>
                    <a:pt x="1840" y="51"/>
                  </a:cubicBezTo>
                  <a:cubicBezTo>
                    <a:pt x="1839" y="49"/>
                    <a:pt x="1839" y="47"/>
                    <a:pt x="1839" y="45"/>
                  </a:cubicBezTo>
                  <a:cubicBezTo>
                    <a:pt x="1839" y="2"/>
                    <a:pt x="1839" y="2"/>
                    <a:pt x="1839" y="2"/>
                  </a:cubicBezTo>
                  <a:cubicBezTo>
                    <a:pt x="1823" y="2"/>
                    <a:pt x="1823" y="2"/>
                    <a:pt x="1823" y="2"/>
                  </a:cubicBezTo>
                  <a:cubicBezTo>
                    <a:pt x="1823" y="46"/>
                    <a:pt x="1823" y="46"/>
                    <a:pt x="1823" y="46"/>
                  </a:cubicBezTo>
                  <a:cubicBezTo>
                    <a:pt x="1823" y="50"/>
                    <a:pt x="1824" y="54"/>
                    <a:pt x="1825" y="57"/>
                  </a:cubicBezTo>
                  <a:cubicBezTo>
                    <a:pt x="1826" y="61"/>
                    <a:pt x="1828" y="64"/>
                    <a:pt x="1831" y="66"/>
                  </a:cubicBezTo>
                  <a:cubicBezTo>
                    <a:pt x="1833" y="69"/>
                    <a:pt x="1836" y="71"/>
                    <a:pt x="1840" y="73"/>
                  </a:cubicBezTo>
                  <a:cubicBezTo>
                    <a:pt x="1844" y="74"/>
                    <a:pt x="1848" y="75"/>
                    <a:pt x="1853" y="75"/>
                  </a:cubicBezTo>
                  <a:cubicBezTo>
                    <a:pt x="1858" y="75"/>
                    <a:pt x="1862" y="74"/>
                    <a:pt x="1866" y="73"/>
                  </a:cubicBezTo>
                  <a:cubicBezTo>
                    <a:pt x="1870" y="71"/>
                    <a:pt x="1873" y="69"/>
                    <a:pt x="1875" y="66"/>
                  </a:cubicBezTo>
                  <a:cubicBezTo>
                    <a:pt x="1878" y="64"/>
                    <a:pt x="1880" y="61"/>
                    <a:pt x="1881" y="57"/>
                  </a:cubicBezTo>
                  <a:cubicBezTo>
                    <a:pt x="1882" y="54"/>
                    <a:pt x="1883" y="50"/>
                    <a:pt x="1883" y="46"/>
                  </a:cubicBezTo>
                  <a:lnTo>
                    <a:pt x="1883" y="2"/>
                  </a:lnTo>
                  <a:close/>
                  <a:moveTo>
                    <a:pt x="1752" y="15"/>
                  </a:moveTo>
                  <a:cubicBezTo>
                    <a:pt x="1762" y="15"/>
                    <a:pt x="1762" y="15"/>
                    <a:pt x="1762" y="15"/>
                  </a:cubicBezTo>
                  <a:cubicBezTo>
                    <a:pt x="1764" y="15"/>
                    <a:pt x="1765" y="15"/>
                    <a:pt x="1767" y="16"/>
                  </a:cubicBezTo>
                  <a:cubicBezTo>
                    <a:pt x="1768" y="16"/>
                    <a:pt x="1769" y="16"/>
                    <a:pt x="1770" y="17"/>
                  </a:cubicBezTo>
                  <a:cubicBezTo>
                    <a:pt x="1772" y="17"/>
                    <a:pt x="1773" y="18"/>
                    <a:pt x="1773" y="19"/>
                  </a:cubicBezTo>
                  <a:cubicBezTo>
                    <a:pt x="1774" y="20"/>
                    <a:pt x="1774" y="22"/>
                    <a:pt x="1774" y="23"/>
                  </a:cubicBezTo>
                  <a:cubicBezTo>
                    <a:pt x="1774" y="25"/>
                    <a:pt x="1774" y="27"/>
                    <a:pt x="1773" y="28"/>
                  </a:cubicBezTo>
                  <a:cubicBezTo>
                    <a:pt x="1772" y="29"/>
                    <a:pt x="1771" y="30"/>
                    <a:pt x="1770" y="30"/>
                  </a:cubicBezTo>
                  <a:cubicBezTo>
                    <a:pt x="1769" y="31"/>
                    <a:pt x="1767" y="31"/>
                    <a:pt x="1766" y="31"/>
                  </a:cubicBezTo>
                  <a:cubicBezTo>
                    <a:pt x="1764" y="31"/>
                    <a:pt x="1763" y="31"/>
                    <a:pt x="1761" y="31"/>
                  </a:cubicBezTo>
                  <a:cubicBezTo>
                    <a:pt x="1752" y="31"/>
                    <a:pt x="1752" y="31"/>
                    <a:pt x="1752" y="31"/>
                  </a:cubicBezTo>
                  <a:lnTo>
                    <a:pt x="1752" y="15"/>
                  </a:lnTo>
                  <a:close/>
                  <a:moveTo>
                    <a:pt x="1736" y="73"/>
                  </a:moveTo>
                  <a:cubicBezTo>
                    <a:pt x="1752" y="73"/>
                    <a:pt x="1752" y="73"/>
                    <a:pt x="1752" y="73"/>
                  </a:cubicBezTo>
                  <a:cubicBezTo>
                    <a:pt x="1752" y="45"/>
                    <a:pt x="1752" y="45"/>
                    <a:pt x="1752" y="45"/>
                  </a:cubicBezTo>
                  <a:cubicBezTo>
                    <a:pt x="1760" y="45"/>
                    <a:pt x="1760" y="45"/>
                    <a:pt x="1760" y="45"/>
                  </a:cubicBezTo>
                  <a:cubicBezTo>
                    <a:pt x="1775" y="73"/>
                    <a:pt x="1775" y="73"/>
                    <a:pt x="1775" y="73"/>
                  </a:cubicBezTo>
                  <a:cubicBezTo>
                    <a:pt x="1793" y="73"/>
                    <a:pt x="1793" y="73"/>
                    <a:pt x="1793" y="73"/>
                  </a:cubicBezTo>
                  <a:cubicBezTo>
                    <a:pt x="1775" y="43"/>
                    <a:pt x="1775" y="43"/>
                    <a:pt x="1775" y="43"/>
                  </a:cubicBezTo>
                  <a:cubicBezTo>
                    <a:pt x="1780" y="42"/>
                    <a:pt x="1784" y="40"/>
                    <a:pt x="1787" y="36"/>
                  </a:cubicBezTo>
                  <a:cubicBezTo>
                    <a:pt x="1789" y="33"/>
                    <a:pt x="1791" y="29"/>
                    <a:pt x="1791" y="24"/>
                  </a:cubicBezTo>
                  <a:cubicBezTo>
                    <a:pt x="1791" y="19"/>
                    <a:pt x="1790" y="16"/>
                    <a:pt x="1788" y="13"/>
                  </a:cubicBezTo>
                  <a:cubicBezTo>
                    <a:pt x="1787" y="10"/>
                    <a:pt x="1785" y="8"/>
                    <a:pt x="1783" y="7"/>
                  </a:cubicBezTo>
                  <a:cubicBezTo>
                    <a:pt x="1780" y="5"/>
                    <a:pt x="1777" y="4"/>
                    <a:pt x="1774" y="3"/>
                  </a:cubicBezTo>
                  <a:cubicBezTo>
                    <a:pt x="1771" y="2"/>
                    <a:pt x="1767" y="2"/>
                    <a:pt x="1764" y="2"/>
                  </a:cubicBezTo>
                  <a:cubicBezTo>
                    <a:pt x="1736" y="2"/>
                    <a:pt x="1736" y="2"/>
                    <a:pt x="1736" y="2"/>
                  </a:cubicBezTo>
                  <a:lnTo>
                    <a:pt x="1736" y="73"/>
                  </a:lnTo>
                  <a:close/>
                  <a:moveTo>
                    <a:pt x="1671" y="73"/>
                  </a:moveTo>
                  <a:cubicBezTo>
                    <a:pt x="1687" y="73"/>
                    <a:pt x="1687" y="73"/>
                    <a:pt x="1687" y="73"/>
                  </a:cubicBezTo>
                  <a:cubicBezTo>
                    <a:pt x="1687" y="16"/>
                    <a:pt x="1687" y="16"/>
                    <a:pt x="1687" y="16"/>
                  </a:cubicBezTo>
                  <a:cubicBezTo>
                    <a:pt x="1707" y="16"/>
                    <a:pt x="1707" y="16"/>
                    <a:pt x="1707" y="16"/>
                  </a:cubicBezTo>
                  <a:cubicBezTo>
                    <a:pt x="1707" y="2"/>
                    <a:pt x="1707" y="2"/>
                    <a:pt x="1707" y="2"/>
                  </a:cubicBezTo>
                  <a:cubicBezTo>
                    <a:pt x="1651" y="2"/>
                    <a:pt x="1651" y="2"/>
                    <a:pt x="1651" y="2"/>
                  </a:cubicBezTo>
                  <a:cubicBezTo>
                    <a:pt x="1651" y="16"/>
                    <a:pt x="1651" y="16"/>
                    <a:pt x="1651" y="16"/>
                  </a:cubicBezTo>
                  <a:cubicBezTo>
                    <a:pt x="1671" y="16"/>
                    <a:pt x="1671" y="16"/>
                    <a:pt x="1671" y="16"/>
                  </a:cubicBezTo>
                  <a:lnTo>
                    <a:pt x="1671" y="73"/>
                  </a:lnTo>
                  <a:close/>
                  <a:moveTo>
                    <a:pt x="1554" y="73"/>
                  </a:moveTo>
                  <a:cubicBezTo>
                    <a:pt x="1569" y="73"/>
                    <a:pt x="1569" y="73"/>
                    <a:pt x="1569" y="73"/>
                  </a:cubicBezTo>
                  <a:cubicBezTo>
                    <a:pt x="1569" y="22"/>
                    <a:pt x="1569" y="22"/>
                    <a:pt x="1569" y="22"/>
                  </a:cubicBezTo>
                  <a:cubicBezTo>
                    <a:pt x="1570" y="22"/>
                    <a:pt x="1570" y="22"/>
                    <a:pt x="1570" y="22"/>
                  </a:cubicBezTo>
                  <a:cubicBezTo>
                    <a:pt x="1601" y="73"/>
                    <a:pt x="1601" y="73"/>
                    <a:pt x="1601" y="73"/>
                  </a:cubicBezTo>
                  <a:cubicBezTo>
                    <a:pt x="1621" y="73"/>
                    <a:pt x="1621" y="73"/>
                    <a:pt x="1621" y="73"/>
                  </a:cubicBezTo>
                  <a:cubicBezTo>
                    <a:pt x="1621" y="2"/>
                    <a:pt x="1621" y="2"/>
                    <a:pt x="1621" y="2"/>
                  </a:cubicBezTo>
                  <a:cubicBezTo>
                    <a:pt x="1605" y="2"/>
                    <a:pt x="1605" y="2"/>
                    <a:pt x="1605" y="2"/>
                  </a:cubicBezTo>
                  <a:cubicBezTo>
                    <a:pt x="1605" y="51"/>
                    <a:pt x="1605" y="51"/>
                    <a:pt x="1605" y="51"/>
                  </a:cubicBezTo>
                  <a:cubicBezTo>
                    <a:pt x="1605" y="51"/>
                    <a:pt x="1605" y="51"/>
                    <a:pt x="1605" y="51"/>
                  </a:cubicBezTo>
                  <a:cubicBezTo>
                    <a:pt x="1575" y="2"/>
                    <a:pt x="1575" y="2"/>
                    <a:pt x="1575" y="2"/>
                  </a:cubicBezTo>
                  <a:cubicBezTo>
                    <a:pt x="1554" y="2"/>
                    <a:pt x="1554" y="2"/>
                    <a:pt x="1554" y="2"/>
                  </a:cubicBezTo>
                  <a:lnTo>
                    <a:pt x="1554" y="73"/>
                  </a:lnTo>
                  <a:close/>
                  <a:moveTo>
                    <a:pt x="1469" y="73"/>
                  </a:moveTo>
                  <a:cubicBezTo>
                    <a:pt x="1519" y="73"/>
                    <a:pt x="1519" y="73"/>
                    <a:pt x="1519" y="73"/>
                  </a:cubicBezTo>
                  <a:cubicBezTo>
                    <a:pt x="1519" y="59"/>
                    <a:pt x="1519" y="59"/>
                    <a:pt x="1519" y="59"/>
                  </a:cubicBezTo>
                  <a:cubicBezTo>
                    <a:pt x="1485" y="59"/>
                    <a:pt x="1485" y="59"/>
                    <a:pt x="1485" y="59"/>
                  </a:cubicBezTo>
                  <a:cubicBezTo>
                    <a:pt x="1485" y="44"/>
                    <a:pt x="1485" y="44"/>
                    <a:pt x="1485" y="44"/>
                  </a:cubicBezTo>
                  <a:cubicBezTo>
                    <a:pt x="1516" y="44"/>
                    <a:pt x="1516" y="44"/>
                    <a:pt x="1516" y="44"/>
                  </a:cubicBezTo>
                  <a:cubicBezTo>
                    <a:pt x="1516" y="30"/>
                    <a:pt x="1516" y="30"/>
                    <a:pt x="1516" y="30"/>
                  </a:cubicBezTo>
                  <a:cubicBezTo>
                    <a:pt x="1485" y="30"/>
                    <a:pt x="1485" y="30"/>
                    <a:pt x="1485" y="30"/>
                  </a:cubicBezTo>
                  <a:cubicBezTo>
                    <a:pt x="1485" y="16"/>
                    <a:pt x="1485" y="16"/>
                    <a:pt x="1485" y="16"/>
                  </a:cubicBezTo>
                  <a:cubicBezTo>
                    <a:pt x="1517" y="16"/>
                    <a:pt x="1517" y="16"/>
                    <a:pt x="1517" y="16"/>
                  </a:cubicBezTo>
                  <a:cubicBezTo>
                    <a:pt x="1517" y="2"/>
                    <a:pt x="1517" y="2"/>
                    <a:pt x="1517" y="2"/>
                  </a:cubicBezTo>
                  <a:cubicBezTo>
                    <a:pt x="1469" y="2"/>
                    <a:pt x="1469" y="2"/>
                    <a:pt x="1469" y="2"/>
                  </a:cubicBezTo>
                  <a:lnTo>
                    <a:pt x="1469" y="73"/>
                  </a:lnTo>
                  <a:close/>
                  <a:moveTo>
                    <a:pt x="1437" y="11"/>
                  </a:moveTo>
                  <a:cubicBezTo>
                    <a:pt x="1436" y="9"/>
                    <a:pt x="1434" y="7"/>
                    <a:pt x="1432" y="6"/>
                  </a:cubicBezTo>
                  <a:cubicBezTo>
                    <a:pt x="1430" y="4"/>
                    <a:pt x="1428" y="3"/>
                    <a:pt x="1426" y="3"/>
                  </a:cubicBezTo>
                  <a:cubicBezTo>
                    <a:pt x="1424" y="2"/>
                    <a:pt x="1422" y="1"/>
                    <a:pt x="1420" y="1"/>
                  </a:cubicBezTo>
                  <a:cubicBezTo>
                    <a:pt x="1417" y="0"/>
                    <a:pt x="1415" y="0"/>
                    <a:pt x="1413" y="0"/>
                  </a:cubicBezTo>
                  <a:cubicBezTo>
                    <a:pt x="1408" y="0"/>
                    <a:pt x="1403" y="1"/>
                    <a:pt x="1398" y="3"/>
                  </a:cubicBezTo>
                  <a:cubicBezTo>
                    <a:pt x="1393" y="5"/>
                    <a:pt x="1389" y="7"/>
                    <a:pt x="1386" y="10"/>
                  </a:cubicBezTo>
                  <a:cubicBezTo>
                    <a:pt x="1382" y="14"/>
                    <a:pt x="1380" y="17"/>
                    <a:pt x="1378" y="22"/>
                  </a:cubicBezTo>
                  <a:cubicBezTo>
                    <a:pt x="1376" y="27"/>
                    <a:pt x="1375" y="32"/>
                    <a:pt x="1375" y="37"/>
                  </a:cubicBezTo>
                  <a:cubicBezTo>
                    <a:pt x="1375" y="43"/>
                    <a:pt x="1376" y="48"/>
                    <a:pt x="1378" y="53"/>
                  </a:cubicBezTo>
                  <a:cubicBezTo>
                    <a:pt x="1380" y="58"/>
                    <a:pt x="1382" y="61"/>
                    <a:pt x="1386" y="65"/>
                  </a:cubicBezTo>
                  <a:cubicBezTo>
                    <a:pt x="1389" y="68"/>
                    <a:pt x="1393" y="70"/>
                    <a:pt x="1398" y="72"/>
                  </a:cubicBezTo>
                  <a:cubicBezTo>
                    <a:pt x="1403" y="74"/>
                    <a:pt x="1408" y="75"/>
                    <a:pt x="1413" y="75"/>
                  </a:cubicBezTo>
                  <a:cubicBezTo>
                    <a:pt x="1418" y="75"/>
                    <a:pt x="1423" y="74"/>
                    <a:pt x="1428" y="72"/>
                  </a:cubicBezTo>
                  <a:cubicBezTo>
                    <a:pt x="1432" y="70"/>
                    <a:pt x="1436" y="67"/>
                    <a:pt x="1439" y="62"/>
                  </a:cubicBezTo>
                  <a:cubicBezTo>
                    <a:pt x="1426" y="53"/>
                    <a:pt x="1426" y="53"/>
                    <a:pt x="1426" y="53"/>
                  </a:cubicBezTo>
                  <a:cubicBezTo>
                    <a:pt x="1424" y="55"/>
                    <a:pt x="1422" y="57"/>
                    <a:pt x="1420" y="58"/>
                  </a:cubicBezTo>
                  <a:cubicBezTo>
                    <a:pt x="1417" y="60"/>
                    <a:pt x="1414" y="60"/>
                    <a:pt x="1411" y="60"/>
                  </a:cubicBezTo>
                  <a:cubicBezTo>
                    <a:pt x="1408" y="60"/>
                    <a:pt x="1406" y="60"/>
                    <a:pt x="1403" y="59"/>
                  </a:cubicBezTo>
                  <a:cubicBezTo>
                    <a:pt x="1401" y="57"/>
                    <a:pt x="1399" y="56"/>
                    <a:pt x="1397" y="54"/>
                  </a:cubicBezTo>
                  <a:cubicBezTo>
                    <a:pt x="1395" y="52"/>
                    <a:pt x="1394" y="49"/>
                    <a:pt x="1393" y="47"/>
                  </a:cubicBezTo>
                  <a:cubicBezTo>
                    <a:pt x="1392" y="44"/>
                    <a:pt x="1391" y="41"/>
                    <a:pt x="1391" y="37"/>
                  </a:cubicBezTo>
                  <a:cubicBezTo>
                    <a:pt x="1391" y="34"/>
                    <a:pt x="1392" y="31"/>
                    <a:pt x="1393" y="28"/>
                  </a:cubicBezTo>
                  <a:cubicBezTo>
                    <a:pt x="1394" y="26"/>
                    <a:pt x="1395" y="23"/>
                    <a:pt x="1397" y="21"/>
                  </a:cubicBezTo>
                  <a:cubicBezTo>
                    <a:pt x="1399" y="19"/>
                    <a:pt x="1401" y="17"/>
                    <a:pt x="1404" y="16"/>
                  </a:cubicBezTo>
                  <a:cubicBezTo>
                    <a:pt x="1406" y="15"/>
                    <a:pt x="1409" y="15"/>
                    <a:pt x="1412" y="15"/>
                  </a:cubicBezTo>
                  <a:cubicBezTo>
                    <a:pt x="1415" y="15"/>
                    <a:pt x="1417" y="15"/>
                    <a:pt x="1420" y="16"/>
                  </a:cubicBezTo>
                  <a:cubicBezTo>
                    <a:pt x="1422" y="17"/>
                    <a:pt x="1424" y="19"/>
                    <a:pt x="1425" y="20"/>
                  </a:cubicBezTo>
                  <a:lnTo>
                    <a:pt x="1437" y="11"/>
                  </a:lnTo>
                  <a:close/>
                  <a:moveTo>
                    <a:pt x="1308" y="15"/>
                  </a:moveTo>
                  <a:cubicBezTo>
                    <a:pt x="1318" y="15"/>
                    <a:pt x="1318" y="15"/>
                    <a:pt x="1318" y="15"/>
                  </a:cubicBezTo>
                  <a:cubicBezTo>
                    <a:pt x="1319" y="15"/>
                    <a:pt x="1321" y="15"/>
                    <a:pt x="1322" y="16"/>
                  </a:cubicBezTo>
                  <a:cubicBezTo>
                    <a:pt x="1324" y="16"/>
                    <a:pt x="1325" y="16"/>
                    <a:pt x="1326" y="17"/>
                  </a:cubicBezTo>
                  <a:cubicBezTo>
                    <a:pt x="1327" y="17"/>
                    <a:pt x="1328" y="18"/>
                    <a:pt x="1329" y="19"/>
                  </a:cubicBezTo>
                  <a:cubicBezTo>
                    <a:pt x="1330" y="20"/>
                    <a:pt x="1330" y="22"/>
                    <a:pt x="1330" y="23"/>
                  </a:cubicBezTo>
                  <a:cubicBezTo>
                    <a:pt x="1330" y="25"/>
                    <a:pt x="1330" y="27"/>
                    <a:pt x="1329" y="28"/>
                  </a:cubicBezTo>
                  <a:cubicBezTo>
                    <a:pt x="1328" y="29"/>
                    <a:pt x="1327" y="30"/>
                    <a:pt x="1326" y="30"/>
                  </a:cubicBezTo>
                  <a:cubicBezTo>
                    <a:pt x="1324" y="31"/>
                    <a:pt x="1323" y="31"/>
                    <a:pt x="1321" y="31"/>
                  </a:cubicBezTo>
                  <a:cubicBezTo>
                    <a:pt x="1320" y="31"/>
                    <a:pt x="1318" y="31"/>
                    <a:pt x="1317" y="31"/>
                  </a:cubicBezTo>
                  <a:cubicBezTo>
                    <a:pt x="1308" y="31"/>
                    <a:pt x="1308" y="31"/>
                    <a:pt x="1308" y="31"/>
                  </a:cubicBezTo>
                  <a:lnTo>
                    <a:pt x="1308" y="15"/>
                  </a:lnTo>
                  <a:close/>
                  <a:moveTo>
                    <a:pt x="1292" y="73"/>
                  </a:moveTo>
                  <a:cubicBezTo>
                    <a:pt x="1308" y="73"/>
                    <a:pt x="1308" y="73"/>
                    <a:pt x="1308" y="73"/>
                  </a:cubicBezTo>
                  <a:cubicBezTo>
                    <a:pt x="1308" y="45"/>
                    <a:pt x="1308" y="45"/>
                    <a:pt x="1308" y="45"/>
                  </a:cubicBezTo>
                  <a:cubicBezTo>
                    <a:pt x="1316" y="45"/>
                    <a:pt x="1316" y="45"/>
                    <a:pt x="1316" y="45"/>
                  </a:cubicBezTo>
                  <a:cubicBezTo>
                    <a:pt x="1330" y="73"/>
                    <a:pt x="1330" y="73"/>
                    <a:pt x="1330" y="73"/>
                  </a:cubicBezTo>
                  <a:cubicBezTo>
                    <a:pt x="1349" y="73"/>
                    <a:pt x="1349" y="73"/>
                    <a:pt x="1349" y="73"/>
                  </a:cubicBezTo>
                  <a:cubicBezTo>
                    <a:pt x="1331" y="43"/>
                    <a:pt x="1331" y="43"/>
                    <a:pt x="1331" y="43"/>
                  </a:cubicBezTo>
                  <a:cubicBezTo>
                    <a:pt x="1336" y="42"/>
                    <a:pt x="1340" y="40"/>
                    <a:pt x="1342" y="36"/>
                  </a:cubicBezTo>
                  <a:cubicBezTo>
                    <a:pt x="1345" y="33"/>
                    <a:pt x="1346" y="29"/>
                    <a:pt x="1346" y="24"/>
                  </a:cubicBezTo>
                  <a:cubicBezTo>
                    <a:pt x="1346" y="19"/>
                    <a:pt x="1346" y="16"/>
                    <a:pt x="1344" y="13"/>
                  </a:cubicBezTo>
                  <a:cubicBezTo>
                    <a:pt x="1343" y="10"/>
                    <a:pt x="1341" y="8"/>
                    <a:pt x="1338" y="7"/>
                  </a:cubicBezTo>
                  <a:cubicBezTo>
                    <a:pt x="1336" y="5"/>
                    <a:pt x="1333" y="4"/>
                    <a:pt x="1330" y="3"/>
                  </a:cubicBezTo>
                  <a:cubicBezTo>
                    <a:pt x="1327" y="2"/>
                    <a:pt x="1323" y="2"/>
                    <a:pt x="1320" y="2"/>
                  </a:cubicBezTo>
                  <a:cubicBezTo>
                    <a:pt x="1292" y="2"/>
                    <a:pt x="1292" y="2"/>
                    <a:pt x="1292" y="2"/>
                  </a:cubicBezTo>
                  <a:lnTo>
                    <a:pt x="1292" y="73"/>
                  </a:lnTo>
                  <a:close/>
                  <a:moveTo>
                    <a:pt x="1207" y="73"/>
                  </a:moveTo>
                  <a:cubicBezTo>
                    <a:pt x="1257" y="73"/>
                    <a:pt x="1257" y="73"/>
                    <a:pt x="1257" y="73"/>
                  </a:cubicBezTo>
                  <a:cubicBezTo>
                    <a:pt x="1257" y="59"/>
                    <a:pt x="1257" y="59"/>
                    <a:pt x="1257" y="59"/>
                  </a:cubicBezTo>
                  <a:cubicBezTo>
                    <a:pt x="1223" y="59"/>
                    <a:pt x="1223" y="59"/>
                    <a:pt x="1223" y="59"/>
                  </a:cubicBezTo>
                  <a:cubicBezTo>
                    <a:pt x="1223" y="44"/>
                    <a:pt x="1223" y="44"/>
                    <a:pt x="1223" y="44"/>
                  </a:cubicBezTo>
                  <a:cubicBezTo>
                    <a:pt x="1254" y="44"/>
                    <a:pt x="1254" y="44"/>
                    <a:pt x="1254" y="44"/>
                  </a:cubicBezTo>
                  <a:cubicBezTo>
                    <a:pt x="1254" y="30"/>
                    <a:pt x="1254" y="30"/>
                    <a:pt x="1254" y="30"/>
                  </a:cubicBezTo>
                  <a:cubicBezTo>
                    <a:pt x="1223" y="30"/>
                    <a:pt x="1223" y="30"/>
                    <a:pt x="1223" y="30"/>
                  </a:cubicBezTo>
                  <a:cubicBezTo>
                    <a:pt x="1223" y="16"/>
                    <a:pt x="1223" y="16"/>
                    <a:pt x="1223" y="16"/>
                  </a:cubicBezTo>
                  <a:cubicBezTo>
                    <a:pt x="1256" y="16"/>
                    <a:pt x="1256" y="16"/>
                    <a:pt x="1256" y="16"/>
                  </a:cubicBezTo>
                  <a:cubicBezTo>
                    <a:pt x="1256" y="2"/>
                    <a:pt x="1256" y="2"/>
                    <a:pt x="1256" y="2"/>
                  </a:cubicBezTo>
                  <a:cubicBezTo>
                    <a:pt x="1207" y="2"/>
                    <a:pt x="1207" y="2"/>
                    <a:pt x="1207" y="2"/>
                  </a:cubicBezTo>
                  <a:lnTo>
                    <a:pt x="1207" y="73"/>
                  </a:lnTo>
                  <a:close/>
                  <a:moveTo>
                    <a:pt x="1142" y="73"/>
                  </a:moveTo>
                  <a:cubicBezTo>
                    <a:pt x="1157" y="73"/>
                    <a:pt x="1157" y="73"/>
                    <a:pt x="1157" y="73"/>
                  </a:cubicBezTo>
                  <a:cubicBezTo>
                    <a:pt x="1157" y="16"/>
                    <a:pt x="1157" y="16"/>
                    <a:pt x="1157" y="16"/>
                  </a:cubicBezTo>
                  <a:cubicBezTo>
                    <a:pt x="1178" y="16"/>
                    <a:pt x="1178" y="16"/>
                    <a:pt x="1178" y="16"/>
                  </a:cubicBezTo>
                  <a:cubicBezTo>
                    <a:pt x="1178" y="2"/>
                    <a:pt x="1178" y="2"/>
                    <a:pt x="1178" y="2"/>
                  </a:cubicBezTo>
                  <a:cubicBezTo>
                    <a:pt x="1121" y="2"/>
                    <a:pt x="1121" y="2"/>
                    <a:pt x="1121" y="2"/>
                  </a:cubicBezTo>
                  <a:cubicBezTo>
                    <a:pt x="1121" y="16"/>
                    <a:pt x="1121" y="16"/>
                    <a:pt x="1121" y="16"/>
                  </a:cubicBezTo>
                  <a:cubicBezTo>
                    <a:pt x="1142" y="16"/>
                    <a:pt x="1142" y="16"/>
                    <a:pt x="1142" y="16"/>
                  </a:cubicBezTo>
                  <a:lnTo>
                    <a:pt x="1142" y="73"/>
                  </a:lnTo>
                  <a:close/>
                  <a:moveTo>
                    <a:pt x="1093" y="8"/>
                  </a:moveTo>
                  <a:cubicBezTo>
                    <a:pt x="1090" y="5"/>
                    <a:pt x="1087" y="3"/>
                    <a:pt x="1083" y="2"/>
                  </a:cubicBezTo>
                  <a:cubicBezTo>
                    <a:pt x="1079" y="1"/>
                    <a:pt x="1075" y="0"/>
                    <a:pt x="1071" y="0"/>
                  </a:cubicBezTo>
                  <a:cubicBezTo>
                    <a:pt x="1068" y="0"/>
                    <a:pt x="1065" y="1"/>
                    <a:pt x="1061" y="2"/>
                  </a:cubicBezTo>
                  <a:cubicBezTo>
                    <a:pt x="1058" y="3"/>
                    <a:pt x="1055" y="4"/>
                    <a:pt x="1053" y="6"/>
                  </a:cubicBezTo>
                  <a:cubicBezTo>
                    <a:pt x="1050" y="8"/>
                    <a:pt x="1048" y="10"/>
                    <a:pt x="1047" y="13"/>
                  </a:cubicBezTo>
                  <a:cubicBezTo>
                    <a:pt x="1045" y="16"/>
                    <a:pt x="1044" y="19"/>
                    <a:pt x="1044" y="23"/>
                  </a:cubicBezTo>
                  <a:cubicBezTo>
                    <a:pt x="1044" y="27"/>
                    <a:pt x="1045" y="30"/>
                    <a:pt x="1047" y="33"/>
                  </a:cubicBezTo>
                  <a:cubicBezTo>
                    <a:pt x="1048" y="35"/>
                    <a:pt x="1051" y="37"/>
                    <a:pt x="1053" y="39"/>
                  </a:cubicBezTo>
                  <a:cubicBezTo>
                    <a:pt x="1055" y="40"/>
                    <a:pt x="1058" y="41"/>
                    <a:pt x="1061" y="42"/>
                  </a:cubicBezTo>
                  <a:cubicBezTo>
                    <a:pt x="1064" y="43"/>
                    <a:pt x="1067" y="44"/>
                    <a:pt x="1069" y="45"/>
                  </a:cubicBezTo>
                  <a:cubicBezTo>
                    <a:pt x="1071" y="46"/>
                    <a:pt x="1074" y="47"/>
                    <a:pt x="1075" y="48"/>
                  </a:cubicBezTo>
                  <a:cubicBezTo>
                    <a:pt x="1077" y="49"/>
                    <a:pt x="1078" y="51"/>
                    <a:pt x="1078" y="53"/>
                  </a:cubicBezTo>
                  <a:cubicBezTo>
                    <a:pt x="1078" y="54"/>
                    <a:pt x="1077" y="55"/>
                    <a:pt x="1077" y="56"/>
                  </a:cubicBezTo>
                  <a:cubicBezTo>
                    <a:pt x="1076" y="57"/>
                    <a:pt x="1075" y="58"/>
                    <a:pt x="1074" y="59"/>
                  </a:cubicBezTo>
                  <a:cubicBezTo>
                    <a:pt x="1073" y="59"/>
                    <a:pt x="1072" y="60"/>
                    <a:pt x="1071" y="60"/>
                  </a:cubicBezTo>
                  <a:cubicBezTo>
                    <a:pt x="1069" y="60"/>
                    <a:pt x="1068" y="60"/>
                    <a:pt x="1067" y="60"/>
                  </a:cubicBezTo>
                  <a:cubicBezTo>
                    <a:pt x="1064" y="60"/>
                    <a:pt x="1062" y="60"/>
                    <a:pt x="1059" y="59"/>
                  </a:cubicBezTo>
                  <a:cubicBezTo>
                    <a:pt x="1057" y="57"/>
                    <a:pt x="1055" y="56"/>
                    <a:pt x="1053" y="54"/>
                  </a:cubicBezTo>
                  <a:cubicBezTo>
                    <a:pt x="1042" y="66"/>
                    <a:pt x="1042" y="66"/>
                    <a:pt x="1042" y="66"/>
                  </a:cubicBezTo>
                  <a:cubicBezTo>
                    <a:pt x="1045" y="69"/>
                    <a:pt x="1049" y="71"/>
                    <a:pt x="1053" y="73"/>
                  </a:cubicBezTo>
                  <a:cubicBezTo>
                    <a:pt x="1057" y="74"/>
                    <a:pt x="1061" y="75"/>
                    <a:pt x="1066" y="75"/>
                  </a:cubicBezTo>
                  <a:cubicBezTo>
                    <a:pt x="1070" y="75"/>
                    <a:pt x="1073" y="74"/>
                    <a:pt x="1076" y="73"/>
                  </a:cubicBezTo>
                  <a:cubicBezTo>
                    <a:pt x="1080" y="72"/>
                    <a:pt x="1083" y="71"/>
                    <a:pt x="1085" y="69"/>
                  </a:cubicBezTo>
                  <a:cubicBezTo>
                    <a:pt x="1088" y="67"/>
                    <a:pt x="1090" y="65"/>
                    <a:pt x="1091" y="62"/>
                  </a:cubicBezTo>
                  <a:cubicBezTo>
                    <a:pt x="1093" y="59"/>
                    <a:pt x="1093" y="55"/>
                    <a:pt x="1093" y="51"/>
                  </a:cubicBezTo>
                  <a:cubicBezTo>
                    <a:pt x="1093" y="47"/>
                    <a:pt x="1092" y="44"/>
                    <a:pt x="1091" y="41"/>
                  </a:cubicBezTo>
                  <a:cubicBezTo>
                    <a:pt x="1089" y="39"/>
                    <a:pt x="1087" y="37"/>
                    <a:pt x="1085" y="36"/>
                  </a:cubicBezTo>
                  <a:cubicBezTo>
                    <a:pt x="1082" y="34"/>
                    <a:pt x="1080" y="33"/>
                    <a:pt x="1077" y="32"/>
                  </a:cubicBezTo>
                  <a:cubicBezTo>
                    <a:pt x="1074" y="31"/>
                    <a:pt x="1072" y="31"/>
                    <a:pt x="1069" y="30"/>
                  </a:cubicBezTo>
                  <a:cubicBezTo>
                    <a:pt x="1067" y="29"/>
                    <a:pt x="1065" y="28"/>
                    <a:pt x="1063" y="27"/>
                  </a:cubicBezTo>
                  <a:cubicBezTo>
                    <a:pt x="1061" y="26"/>
                    <a:pt x="1061" y="24"/>
                    <a:pt x="1061" y="22"/>
                  </a:cubicBezTo>
                  <a:cubicBezTo>
                    <a:pt x="1061" y="21"/>
                    <a:pt x="1061" y="19"/>
                    <a:pt x="1062" y="19"/>
                  </a:cubicBezTo>
                  <a:cubicBezTo>
                    <a:pt x="1062" y="18"/>
                    <a:pt x="1063" y="17"/>
                    <a:pt x="1064" y="16"/>
                  </a:cubicBezTo>
                  <a:cubicBezTo>
                    <a:pt x="1065" y="16"/>
                    <a:pt x="1066" y="15"/>
                    <a:pt x="1068" y="15"/>
                  </a:cubicBezTo>
                  <a:cubicBezTo>
                    <a:pt x="1069" y="15"/>
                    <a:pt x="1070" y="15"/>
                    <a:pt x="1071" y="15"/>
                  </a:cubicBezTo>
                  <a:cubicBezTo>
                    <a:pt x="1073" y="15"/>
                    <a:pt x="1075" y="15"/>
                    <a:pt x="1077" y="16"/>
                  </a:cubicBezTo>
                  <a:cubicBezTo>
                    <a:pt x="1079" y="17"/>
                    <a:pt x="1081" y="18"/>
                    <a:pt x="1082" y="19"/>
                  </a:cubicBezTo>
                  <a:lnTo>
                    <a:pt x="1093" y="8"/>
                  </a:lnTo>
                  <a:close/>
                  <a:moveTo>
                    <a:pt x="995" y="73"/>
                  </a:moveTo>
                  <a:cubicBezTo>
                    <a:pt x="1011" y="73"/>
                    <a:pt x="1011" y="73"/>
                    <a:pt x="1011" y="73"/>
                  </a:cubicBezTo>
                  <a:cubicBezTo>
                    <a:pt x="1011" y="2"/>
                    <a:pt x="1011" y="2"/>
                    <a:pt x="1011" y="2"/>
                  </a:cubicBezTo>
                  <a:cubicBezTo>
                    <a:pt x="995" y="2"/>
                    <a:pt x="995" y="2"/>
                    <a:pt x="995" y="2"/>
                  </a:cubicBezTo>
                  <a:lnTo>
                    <a:pt x="995" y="73"/>
                  </a:lnTo>
                  <a:close/>
                  <a:moveTo>
                    <a:pt x="959" y="31"/>
                  </a:moveTo>
                  <a:cubicBezTo>
                    <a:pt x="931" y="31"/>
                    <a:pt x="931" y="31"/>
                    <a:pt x="931" y="31"/>
                  </a:cubicBezTo>
                  <a:cubicBezTo>
                    <a:pt x="931" y="45"/>
                    <a:pt x="931" y="45"/>
                    <a:pt x="931" y="45"/>
                  </a:cubicBezTo>
                  <a:cubicBezTo>
                    <a:pt x="944" y="45"/>
                    <a:pt x="944" y="45"/>
                    <a:pt x="944" y="45"/>
                  </a:cubicBezTo>
                  <a:cubicBezTo>
                    <a:pt x="944" y="57"/>
                    <a:pt x="944" y="57"/>
                    <a:pt x="944" y="57"/>
                  </a:cubicBezTo>
                  <a:cubicBezTo>
                    <a:pt x="943" y="58"/>
                    <a:pt x="941" y="58"/>
                    <a:pt x="938" y="59"/>
                  </a:cubicBezTo>
                  <a:cubicBezTo>
                    <a:pt x="936" y="60"/>
                    <a:pt x="933" y="60"/>
                    <a:pt x="929" y="60"/>
                  </a:cubicBezTo>
                  <a:cubicBezTo>
                    <a:pt x="926" y="60"/>
                    <a:pt x="923" y="60"/>
                    <a:pt x="920" y="59"/>
                  </a:cubicBezTo>
                  <a:cubicBezTo>
                    <a:pt x="917" y="57"/>
                    <a:pt x="915" y="56"/>
                    <a:pt x="913" y="54"/>
                  </a:cubicBezTo>
                  <a:cubicBezTo>
                    <a:pt x="911" y="52"/>
                    <a:pt x="910" y="49"/>
                    <a:pt x="909" y="47"/>
                  </a:cubicBezTo>
                  <a:cubicBezTo>
                    <a:pt x="908" y="44"/>
                    <a:pt x="907" y="41"/>
                    <a:pt x="907" y="37"/>
                  </a:cubicBezTo>
                  <a:cubicBezTo>
                    <a:pt x="907" y="34"/>
                    <a:pt x="908" y="31"/>
                    <a:pt x="909" y="28"/>
                  </a:cubicBezTo>
                  <a:cubicBezTo>
                    <a:pt x="910" y="26"/>
                    <a:pt x="911" y="23"/>
                    <a:pt x="913" y="21"/>
                  </a:cubicBezTo>
                  <a:cubicBezTo>
                    <a:pt x="915" y="19"/>
                    <a:pt x="917" y="17"/>
                    <a:pt x="920" y="16"/>
                  </a:cubicBezTo>
                  <a:cubicBezTo>
                    <a:pt x="923" y="15"/>
                    <a:pt x="926" y="15"/>
                    <a:pt x="929" y="15"/>
                  </a:cubicBezTo>
                  <a:cubicBezTo>
                    <a:pt x="933" y="15"/>
                    <a:pt x="937" y="15"/>
                    <a:pt x="939" y="16"/>
                  </a:cubicBezTo>
                  <a:cubicBezTo>
                    <a:pt x="942" y="17"/>
                    <a:pt x="944" y="19"/>
                    <a:pt x="946" y="21"/>
                  </a:cubicBezTo>
                  <a:cubicBezTo>
                    <a:pt x="958" y="9"/>
                    <a:pt x="958" y="9"/>
                    <a:pt x="958" y="9"/>
                  </a:cubicBezTo>
                  <a:cubicBezTo>
                    <a:pt x="954" y="6"/>
                    <a:pt x="950" y="4"/>
                    <a:pt x="945" y="2"/>
                  </a:cubicBezTo>
                  <a:cubicBezTo>
                    <a:pt x="940" y="1"/>
                    <a:pt x="935" y="0"/>
                    <a:pt x="929" y="0"/>
                  </a:cubicBezTo>
                  <a:cubicBezTo>
                    <a:pt x="924" y="0"/>
                    <a:pt x="919" y="1"/>
                    <a:pt x="914" y="3"/>
                  </a:cubicBezTo>
                  <a:cubicBezTo>
                    <a:pt x="909" y="5"/>
                    <a:pt x="905" y="7"/>
                    <a:pt x="902" y="10"/>
                  </a:cubicBezTo>
                  <a:cubicBezTo>
                    <a:pt x="898" y="14"/>
                    <a:pt x="896" y="17"/>
                    <a:pt x="894" y="22"/>
                  </a:cubicBezTo>
                  <a:cubicBezTo>
                    <a:pt x="892" y="27"/>
                    <a:pt x="891" y="32"/>
                    <a:pt x="891" y="37"/>
                  </a:cubicBezTo>
                  <a:cubicBezTo>
                    <a:pt x="891" y="43"/>
                    <a:pt x="892" y="48"/>
                    <a:pt x="894" y="53"/>
                  </a:cubicBezTo>
                  <a:cubicBezTo>
                    <a:pt x="896" y="58"/>
                    <a:pt x="898" y="61"/>
                    <a:pt x="902" y="65"/>
                  </a:cubicBezTo>
                  <a:cubicBezTo>
                    <a:pt x="905" y="68"/>
                    <a:pt x="909" y="70"/>
                    <a:pt x="914" y="72"/>
                  </a:cubicBezTo>
                  <a:cubicBezTo>
                    <a:pt x="919" y="74"/>
                    <a:pt x="924" y="75"/>
                    <a:pt x="929" y="75"/>
                  </a:cubicBezTo>
                  <a:cubicBezTo>
                    <a:pt x="934" y="75"/>
                    <a:pt x="940" y="74"/>
                    <a:pt x="945" y="73"/>
                  </a:cubicBezTo>
                  <a:cubicBezTo>
                    <a:pt x="950" y="72"/>
                    <a:pt x="954" y="70"/>
                    <a:pt x="959" y="68"/>
                  </a:cubicBezTo>
                  <a:lnTo>
                    <a:pt x="959" y="31"/>
                  </a:lnTo>
                  <a:close/>
                  <a:moveTo>
                    <a:pt x="811" y="73"/>
                  </a:moveTo>
                  <a:cubicBezTo>
                    <a:pt x="861" y="73"/>
                    <a:pt x="861" y="73"/>
                    <a:pt x="861" y="73"/>
                  </a:cubicBezTo>
                  <a:cubicBezTo>
                    <a:pt x="861" y="59"/>
                    <a:pt x="861" y="59"/>
                    <a:pt x="861" y="59"/>
                  </a:cubicBezTo>
                  <a:cubicBezTo>
                    <a:pt x="827" y="59"/>
                    <a:pt x="827" y="59"/>
                    <a:pt x="827" y="59"/>
                  </a:cubicBezTo>
                  <a:cubicBezTo>
                    <a:pt x="827" y="44"/>
                    <a:pt x="827" y="44"/>
                    <a:pt x="827" y="44"/>
                  </a:cubicBezTo>
                  <a:cubicBezTo>
                    <a:pt x="857" y="44"/>
                    <a:pt x="857" y="44"/>
                    <a:pt x="857" y="44"/>
                  </a:cubicBezTo>
                  <a:cubicBezTo>
                    <a:pt x="857" y="30"/>
                    <a:pt x="857" y="30"/>
                    <a:pt x="857" y="30"/>
                  </a:cubicBezTo>
                  <a:cubicBezTo>
                    <a:pt x="827" y="30"/>
                    <a:pt x="827" y="30"/>
                    <a:pt x="827" y="30"/>
                  </a:cubicBezTo>
                  <a:cubicBezTo>
                    <a:pt x="827" y="16"/>
                    <a:pt x="827" y="16"/>
                    <a:pt x="827" y="16"/>
                  </a:cubicBezTo>
                  <a:cubicBezTo>
                    <a:pt x="859" y="16"/>
                    <a:pt x="859" y="16"/>
                    <a:pt x="859" y="16"/>
                  </a:cubicBezTo>
                  <a:cubicBezTo>
                    <a:pt x="859" y="2"/>
                    <a:pt x="859" y="2"/>
                    <a:pt x="859" y="2"/>
                  </a:cubicBezTo>
                  <a:cubicBezTo>
                    <a:pt x="811" y="2"/>
                    <a:pt x="811" y="2"/>
                    <a:pt x="811" y="2"/>
                  </a:cubicBezTo>
                  <a:lnTo>
                    <a:pt x="811" y="73"/>
                  </a:lnTo>
                  <a:close/>
                  <a:moveTo>
                    <a:pt x="739" y="15"/>
                  </a:moveTo>
                  <a:cubicBezTo>
                    <a:pt x="749" y="15"/>
                    <a:pt x="749" y="15"/>
                    <a:pt x="749" y="15"/>
                  </a:cubicBezTo>
                  <a:cubicBezTo>
                    <a:pt x="750" y="15"/>
                    <a:pt x="752" y="15"/>
                    <a:pt x="753" y="16"/>
                  </a:cubicBezTo>
                  <a:cubicBezTo>
                    <a:pt x="755" y="16"/>
                    <a:pt x="756" y="16"/>
                    <a:pt x="757" y="17"/>
                  </a:cubicBezTo>
                  <a:cubicBezTo>
                    <a:pt x="758" y="17"/>
                    <a:pt x="759" y="18"/>
                    <a:pt x="760" y="19"/>
                  </a:cubicBezTo>
                  <a:cubicBezTo>
                    <a:pt x="761" y="20"/>
                    <a:pt x="761" y="22"/>
                    <a:pt x="761" y="23"/>
                  </a:cubicBezTo>
                  <a:cubicBezTo>
                    <a:pt x="761" y="25"/>
                    <a:pt x="761" y="27"/>
                    <a:pt x="760" y="28"/>
                  </a:cubicBezTo>
                  <a:cubicBezTo>
                    <a:pt x="759" y="29"/>
                    <a:pt x="758" y="30"/>
                    <a:pt x="757" y="30"/>
                  </a:cubicBezTo>
                  <a:cubicBezTo>
                    <a:pt x="755" y="31"/>
                    <a:pt x="754" y="31"/>
                    <a:pt x="752" y="31"/>
                  </a:cubicBezTo>
                  <a:cubicBezTo>
                    <a:pt x="751" y="31"/>
                    <a:pt x="749" y="31"/>
                    <a:pt x="748" y="31"/>
                  </a:cubicBezTo>
                  <a:cubicBezTo>
                    <a:pt x="739" y="31"/>
                    <a:pt x="739" y="31"/>
                    <a:pt x="739" y="31"/>
                  </a:cubicBezTo>
                  <a:lnTo>
                    <a:pt x="739" y="15"/>
                  </a:lnTo>
                  <a:close/>
                  <a:moveTo>
                    <a:pt x="723" y="73"/>
                  </a:moveTo>
                  <a:cubicBezTo>
                    <a:pt x="739" y="73"/>
                    <a:pt x="739" y="73"/>
                    <a:pt x="739" y="73"/>
                  </a:cubicBezTo>
                  <a:cubicBezTo>
                    <a:pt x="739" y="45"/>
                    <a:pt x="739" y="45"/>
                    <a:pt x="739" y="45"/>
                  </a:cubicBezTo>
                  <a:cubicBezTo>
                    <a:pt x="746" y="45"/>
                    <a:pt x="746" y="45"/>
                    <a:pt x="746" y="45"/>
                  </a:cubicBezTo>
                  <a:cubicBezTo>
                    <a:pt x="761" y="73"/>
                    <a:pt x="761" y="73"/>
                    <a:pt x="761" y="73"/>
                  </a:cubicBezTo>
                  <a:cubicBezTo>
                    <a:pt x="780" y="73"/>
                    <a:pt x="780" y="73"/>
                    <a:pt x="780" y="73"/>
                  </a:cubicBezTo>
                  <a:cubicBezTo>
                    <a:pt x="762" y="43"/>
                    <a:pt x="762" y="43"/>
                    <a:pt x="762" y="43"/>
                  </a:cubicBezTo>
                  <a:cubicBezTo>
                    <a:pt x="767" y="42"/>
                    <a:pt x="771" y="40"/>
                    <a:pt x="773" y="36"/>
                  </a:cubicBezTo>
                  <a:cubicBezTo>
                    <a:pt x="776" y="33"/>
                    <a:pt x="777" y="29"/>
                    <a:pt x="777" y="24"/>
                  </a:cubicBezTo>
                  <a:cubicBezTo>
                    <a:pt x="777" y="19"/>
                    <a:pt x="777" y="16"/>
                    <a:pt x="775" y="13"/>
                  </a:cubicBezTo>
                  <a:cubicBezTo>
                    <a:pt x="774" y="10"/>
                    <a:pt x="772" y="8"/>
                    <a:pt x="769" y="7"/>
                  </a:cubicBezTo>
                  <a:cubicBezTo>
                    <a:pt x="767" y="5"/>
                    <a:pt x="764" y="4"/>
                    <a:pt x="761" y="3"/>
                  </a:cubicBezTo>
                  <a:cubicBezTo>
                    <a:pt x="758" y="2"/>
                    <a:pt x="754" y="2"/>
                    <a:pt x="751" y="2"/>
                  </a:cubicBezTo>
                  <a:cubicBezTo>
                    <a:pt x="723" y="2"/>
                    <a:pt x="723" y="2"/>
                    <a:pt x="723" y="2"/>
                  </a:cubicBezTo>
                  <a:lnTo>
                    <a:pt x="723" y="73"/>
                  </a:lnTo>
                  <a:close/>
                  <a:moveTo>
                    <a:pt x="690" y="8"/>
                  </a:moveTo>
                  <a:cubicBezTo>
                    <a:pt x="687" y="5"/>
                    <a:pt x="683" y="3"/>
                    <a:pt x="679" y="2"/>
                  </a:cubicBezTo>
                  <a:cubicBezTo>
                    <a:pt x="676" y="1"/>
                    <a:pt x="672" y="0"/>
                    <a:pt x="668" y="0"/>
                  </a:cubicBezTo>
                  <a:cubicBezTo>
                    <a:pt x="664" y="0"/>
                    <a:pt x="661" y="1"/>
                    <a:pt x="658" y="2"/>
                  </a:cubicBezTo>
                  <a:cubicBezTo>
                    <a:pt x="654" y="3"/>
                    <a:pt x="652" y="4"/>
                    <a:pt x="649" y="6"/>
                  </a:cubicBezTo>
                  <a:cubicBezTo>
                    <a:pt x="647" y="8"/>
                    <a:pt x="645" y="10"/>
                    <a:pt x="643" y="13"/>
                  </a:cubicBezTo>
                  <a:cubicBezTo>
                    <a:pt x="642" y="16"/>
                    <a:pt x="641" y="19"/>
                    <a:pt x="641" y="23"/>
                  </a:cubicBezTo>
                  <a:cubicBezTo>
                    <a:pt x="641" y="27"/>
                    <a:pt x="642" y="30"/>
                    <a:pt x="643" y="33"/>
                  </a:cubicBezTo>
                  <a:cubicBezTo>
                    <a:pt x="645" y="35"/>
                    <a:pt x="647" y="37"/>
                    <a:pt x="649" y="39"/>
                  </a:cubicBezTo>
                  <a:cubicBezTo>
                    <a:pt x="652" y="40"/>
                    <a:pt x="655" y="41"/>
                    <a:pt x="657" y="42"/>
                  </a:cubicBezTo>
                  <a:cubicBezTo>
                    <a:pt x="660" y="43"/>
                    <a:pt x="663" y="44"/>
                    <a:pt x="665" y="45"/>
                  </a:cubicBezTo>
                  <a:cubicBezTo>
                    <a:pt x="668" y="46"/>
                    <a:pt x="670" y="47"/>
                    <a:pt x="672" y="48"/>
                  </a:cubicBezTo>
                  <a:cubicBezTo>
                    <a:pt x="673" y="49"/>
                    <a:pt x="674" y="51"/>
                    <a:pt x="674" y="53"/>
                  </a:cubicBezTo>
                  <a:cubicBezTo>
                    <a:pt x="674" y="54"/>
                    <a:pt x="674" y="55"/>
                    <a:pt x="673" y="56"/>
                  </a:cubicBezTo>
                  <a:cubicBezTo>
                    <a:pt x="672" y="57"/>
                    <a:pt x="672" y="58"/>
                    <a:pt x="671" y="59"/>
                  </a:cubicBezTo>
                  <a:cubicBezTo>
                    <a:pt x="670" y="59"/>
                    <a:pt x="668" y="60"/>
                    <a:pt x="667" y="60"/>
                  </a:cubicBezTo>
                  <a:cubicBezTo>
                    <a:pt x="666" y="60"/>
                    <a:pt x="664" y="60"/>
                    <a:pt x="663" y="60"/>
                  </a:cubicBezTo>
                  <a:cubicBezTo>
                    <a:pt x="661" y="60"/>
                    <a:pt x="658" y="60"/>
                    <a:pt x="656" y="59"/>
                  </a:cubicBezTo>
                  <a:cubicBezTo>
                    <a:pt x="653" y="57"/>
                    <a:pt x="651" y="56"/>
                    <a:pt x="650" y="54"/>
                  </a:cubicBezTo>
                  <a:cubicBezTo>
                    <a:pt x="638" y="66"/>
                    <a:pt x="638" y="66"/>
                    <a:pt x="638" y="66"/>
                  </a:cubicBezTo>
                  <a:cubicBezTo>
                    <a:pt x="642" y="69"/>
                    <a:pt x="646" y="71"/>
                    <a:pt x="649" y="73"/>
                  </a:cubicBezTo>
                  <a:cubicBezTo>
                    <a:pt x="653" y="74"/>
                    <a:pt x="658" y="75"/>
                    <a:pt x="662" y="75"/>
                  </a:cubicBezTo>
                  <a:cubicBezTo>
                    <a:pt x="666" y="75"/>
                    <a:pt x="669" y="74"/>
                    <a:pt x="673" y="73"/>
                  </a:cubicBezTo>
                  <a:cubicBezTo>
                    <a:pt x="676" y="72"/>
                    <a:pt x="679" y="71"/>
                    <a:pt x="681" y="69"/>
                  </a:cubicBezTo>
                  <a:cubicBezTo>
                    <a:pt x="684" y="67"/>
                    <a:pt x="686" y="65"/>
                    <a:pt x="687" y="62"/>
                  </a:cubicBezTo>
                  <a:cubicBezTo>
                    <a:pt x="689" y="59"/>
                    <a:pt x="690" y="55"/>
                    <a:pt x="690" y="51"/>
                  </a:cubicBezTo>
                  <a:cubicBezTo>
                    <a:pt x="690" y="47"/>
                    <a:pt x="689" y="44"/>
                    <a:pt x="687" y="41"/>
                  </a:cubicBezTo>
                  <a:cubicBezTo>
                    <a:pt x="686" y="39"/>
                    <a:pt x="684" y="37"/>
                    <a:pt x="681" y="36"/>
                  </a:cubicBezTo>
                  <a:cubicBezTo>
                    <a:pt x="679" y="34"/>
                    <a:pt x="676" y="33"/>
                    <a:pt x="673" y="32"/>
                  </a:cubicBezTo>
                  <a:cubicBezTo>
                    <a:pt x="671" y="31"/>
                    <a:pt x="668" y="31"/>
                    <a:pt x="665" y="30"/>
                  </a:cubicBezTo>
                  <a:cubicBezTo>
                    <a:pt x="663" y="29"/>
                    <a:pt x="661" y="28"/>
                    <a:pt x="659" y="27"/>
                  </a:cubicBezTo>
                  <a:cubicBezTo>
                    <a:pt x="658" y="26"/>
                    <a:pt x="657" y="24"/>
                    <a:pt x="657" y="22"/>
                  </a:cubicBezTo>
                  <a:cubicBezTo>
                    <a:pt x="657" y="21"/>
                    <a:pt x="657" y="19"/>
                    <a:pt x="658" y="19"/>
                  </a:cubicBezTo>
                  <a:cubicBezTo>
                    <a:pt x="659" y="18"/>
                    <a:pt x="660" y="17"/>
                    <a:pt x="661" y="16"/>
                  </a:cubicBezTo>
                  <a:cubicBezTo>
                    <a:pt x="662" y="16"/>
                    <a:pt x="663" y="15"/>
                    <a:pt x="664" y="15"/>
                  </a:cubicBezTo>
                  <a:cubicBezTo>
                    <a:pt x="665" y="15"/>
                    <a:pt x="666" y="15"/>
                    <a:pt x="668" y="15"/>
                  </a:cubicBezTo>
                  <a:cubicBezTo>
                    <a:pt x="669" y="15"/>
                    <a:pt x="672" y="15"/>
                    <a:pt x="674" y="16"/>
                  </a:cubicBezTo>
                  <a:cubicBezTo>
                    <a:pt x="676" y="17"/>
                    <a:pt x="678" y="18"/>
                    <a:pt x="679" y="19"/>
                  </a:cubicBezTo>
                  <a:lnTo>
                    <a:pt x="690" y="8"/>
                  </a:lnTo>
                  <a:close/>
                  <a:moveTo>
                    <a:pt x="577" y="73"/>
                  </a:moveTo>
                  <a:cubicBezTo>
                    <a:pt x="593" y="73"/>
                    <a:pt x="593" y="73"/>
                    <a:pt x="593" y="73"/>
                  </a:cubicBezTo>
                  <a:cubicBezTo>
                    <a:pt x="593" y="16"/>
                    <a:pt x="593" y="16"/>
                    <a:pt x="593" y="16"/>
                  </a:cubicBezTo>
                  <a:cubicBezTo>
                    <a:pt x="613" y="16"/>
                    <a:pt x="613" y="16"/>
                    <a:pt x="613" y="16"/>
                  </a:cubicBezTo>
                  <a:cubicBezTo>
                    <a:pt x="613" y="2"/>
                    <a:pt x="613" y="2"/>
                    <a:pt x="613" y="2"/>
                  </a:cubicBezTo>
                  <a:cubicBezTo>
                    <a:pt x="557" y="2"/>
                    <a:pt x="557" y="2"/>
                    <a:pt x="557" y="2"/>
                  </a:cubicBezTo>
                  <a:cubicBezTo>
                    <a:pt x="557" y="16"/>
                    <a:pt x="557" y="16"/>
                    <a:pt x="557" y="16"/>
                  </a:cubicBezTo>
                  <a:cubicBezTo>
                    <a:pt x="577" y="16"/>
                    <a:pt x="577" y="16"/>
                    <a:pt x="577" y="16"/>
                  </a:cubicBezTo>
                  <a:lnTo>
                    <a:pt x="577" y="73"/>
                  </a:lnTo>
                  <a:close/>
                  <a:moveTo>
                    <a:pt x="479" y="73"/>
                  </a:moveTo>
                  <a:cubicBezTo>
                    <a:pt x="529" y="73"/>
                    <a:pt x="529" y="73"/>
                    <a:pt x="529" y="73"/>
                  </a:cubicBezTo>
                  <a:cubicBezTo>
                    <a:pt x="529" y="59"/>
                    <a:pt x="529" y="59"/>
                    <a:pt x="529" y="59"/>
                  </a:cubicBezTo>
                  <a:cubicBezTo>
                    <a:pt x="495" y="59"/>
                    <a:pt x="495" y="59"/>
                    <a:pt x="495" y="59"/>
                  </a:cubicBezTo>
                  <a:cubicBezTo>
                    <a:pt x="495" y="44"/>
                    <a:pt x="495" y="44"/>
                    <a:pt x="495" y="44"/>
                  </a:cubicBezTo>
                  <a:cubicBezTo>
                    <a:pt x="526" y="44"/>
                    <a:pt x="526" y="44"/>
                    <a:pt x="526" y="44"/>
                  </a:cubicBezTo>
                  <a:cubicBezTo>
                    <a:pt x="526" y="30"/>
                    <a:pt x="526" y="30"/>
                    <a:pt x="526" y="30"/>
                  </a:cubicBezTo>
                  <a:cubicBezTo>
                    <a:pt x="495" y="30"/>
                    <a:pt x="495" y="30"/>
                    <a:pt x="495" y="30"/>
                  </a:cubicBezTo>
                  <a:cubicBezTo>
                    <a:pt x="495" y="16"/>
                    <a:pt x="495" y="16"/>
                    <a:pt x="495" y="16"/>
                  </a:cubicBezTo>
                  <a:cubicBezTo>
                    <a:pt x="527" y="16"/>
                    <a:pt x="527" y="16"/>
                    <a:pt x="527" y="16"/>
                  </a:cubicBezTo>
                  <a:cubicBezTo>
                    <a:pt x="527" y="2"/>
                    <a:pt x="527" y="2"/>
                    <a:pt x="527" y="2"/>
                  </a:cubicBezTo>
                  <a:cubicBezTo>
                    <a:pt x="479" y="2"/>
                    <a:pt x="479" y="2"/>
                    <a:pt x="479" y="2"/>
                  </a:cubicBezTo>
                  <a:lnTo>
                    <a:pt x="479" y="73"/>
                  </a:lnTo>
                  <a:close/>
                  <a:moveTo>
                    <a:pt x="413" y="73"/>
                  </a:moveTo>
                  <a:cubicBezTo>
                    <a:pt x="429" y="73"/>
                    <a:pt x="429" y="73"/>
                    <a:pt x="429" y="73"/>
                  </a:cubicBezTo>
                  <a:cubicBezTo>
                    <a:pt x="429" y="16"/>
                    <a:pt x="429" y="16"/>
                    <a:pt x="429" y="16"/>
                  </a:cubicBezTo>
                  <a:cubicBezTo>
                    <a:pt x="449" y="16"/>
                    <a:pt x="449" y="16"/>
                    <a:pt x="449" y="16"/>
                  </a:cubicBezTo>
                  <a:cubicBezTo>
                    <a:pt x="449" y="2"/>
                    <a:pt x="449" y="2"/>
                    <a:pt x="449" y="2"/>
                  </a:cubicBezTo>
                  <a:cubicBezTo>
                    <a:pt x="393" y="2"/>
                    <a:pt x="393" y="2"/>
                    <a:pt x="393" y="2"/>
                  </a:cubicBezTo>
                  <a:cubicBezTo>
                    <a:pt x="393" y="16"/>
                    <a:pt x="393" y="16"/>
                    <a:pt x="393" y="16"/>
                  </a:cubicBezTo>
                  <a:cubicBezTo>
                    <a:pt x="413" y="16"/>
                    <a:pt x="413" y="16"/>
                    <a:pt x="413" y="16"/>
                  </a:cubicBezTo>
                  <a:lnTo>
                    <a:pt x="413" y="73"/>
                  </a:lnTo>
                  <a:close/>
                  <a:moveTo>
                    <a:pt x="348" y="73"/>
                  </a:moveTo>
                  <a:cubicBezTo>
                    <a:pt x="364" y="73"/>
                    <a:pt x="364" y="73"/>
                    <a:pt x="364" y="73"/>
                  </a:cubicBezTo>
                  <a:cubicBezTo>
                    <a:pt x="364" y="2"/>
                    <a:pt x="364" y="2"/>
                    <a:pt x="364" y="2"/>
                  </a:cubicBezTo>
                  <a:cubicBezTo>
                    <a:pt x="348" y="2"/>
                    <a:pt x="348" y="2"/>
                    <a:pt x="348" y="2"/>
                  </a:cubicBezTo>
                  <a:lnTo>
                    <a:pt x="348" y="73"/>
                  </a:lnTo>
                  <a:close/>
                  <a:moveTo>
                    <a:pt x="274" y="73"/>
                  </a:moveTo>
                  <a:cubicBezTo>
                    <a:pt x="318" y="73"/>
                    <a:pt x="318" y="73"/>
                    <a:pt x="318" y="73"/>
                  </a:cubicBezTo>
                  <a:cubicBezTo>
                    <a:pt x="318" y="59"/>
                    <a:pt x="318" y="59"/>
                    <a:pt x="318" y="59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89" y="2"/>
                    <a:pt x="289" y="2"/>
                    <a:pt x="289" y="2"/>
                  </a:cubicBezTo>
                  <a:cubicBezTo>
                    <a:pt x="274" y="2"/>
                    <a:pt x="274" y="2"/>
                    <a:pt x="274" y="2"/>
                  </a:cubicBezTo>
                  <a:lnTo>
                    <a:pt x="274" y="73"/>
                  </a:lnTo>
                  <a:close/>
                  <a:moveTo>
                    <a:pt x="215" y="45"/>
                  </a:moveTo>
                  <a:cubicBezTo>
                    <a:pt x="198" y="45"/>
                    <a:pt x="198" y="45"/>
                    <a:pt x="198" y="45"/>
                  </a:cubicBezTo>
                  <a:cubicBezTo>
                    <a:pt x="206" y="23"/>
                    <a:pt x="206" y="23"/>
                    <a:pt x="206" y="23"/>
                  </a:cubicBezTo>
                  <a:lnTo>
                    <a:pt x="215" y="45"/>
                  </a:lnTo>
                  <a:close/>
                  <a:moveTo>
                    <a:pt x="170" y="73"/>
                  </a:moveTo>
                  <a:cubicBezTo>
                    <a:pt x="187" y="73"/>
                    <a:pt x="187" y="73"/>
                    <a:pt x="187" y="73"/>
                  </a:cubicBezTo>
                  <a:cubicBezTo>
                    <a:pt x="193" y="58"/>
                    <a:pt x="193" y="58"/>
                    <a:pt x="193" y="58"/>
                  </a:cubicBezTo>
                  <a:cubicBezTo>
                    <a:pt x="220" y="58"/>
                    <a:pt x="220" y="58"/>
                    <a:pt x="220" y="58"/>
                  </a:cubicBezTo>
                  <a:cubicBezTo>
                    <a:pt x="226" y="73"/>
                    <a:pt x="226" y="73"/>
                    <a:pt x="226" y="73"/>
                  </a:cubicBezTo>
                  <a:cubicBezTo>
                    <a:pt x="244" y="73"/>
                    <a:pt x="244" y="73"/>
                    <a:pt x="244" y="73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00" y="2"/>
                    <a:pt x="200" y="2"/>
                    <a:pt x="200" y="2"/>
                  </a:cubicBezTo>
                  <a:lnTo>
                    <a:pt x="170" y="73"/>
                  </a:lnTo>
                  <a:close/>
                  <a:moveTo>
                    <a:pt x="114" y="73"/>
                  </a:moveTo>
                  <a:cubicBezTo>
                    <a:pt x="127" y="73"/>
                    <a:pt x="127" y="73"/>
                    <a:pt x="127" y="73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39" y="2"/>
                    <a:pt x="139" y="2"/>
                    <a:pt x="139" y="2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86" y="2"/>
                    <a:pt x="86" y="2"/>
                    <a:pt x="86" y="2"/>
                  </a:cubicBezTo>
                  <a:lnTo>
                    <a:pt x="114" y="73"/>
                  </a:lnTo>
                  <a:close/>
                  <a:moveTo>
                    <a:pt x="0" y="73"/>
                  </a:moveTo>
                  <a:cubicBezTo>
                    <a:pt x="15" y="73"/>
                    <a:pt x="15" y="73"/>
                    <a:pt x="15" y="73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7D7A73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33"/>
            </a:p>
          </p:txBody>
        </p:sp>
      </p:grpSp>
    </p:spTree>
    <p:extLst>
      <p:ext uri="{BB962C8B-B14F-4D97-AF65-F5344CB8AC3E}">
        <p14:creationId xmlns:p14="http://schemas.microsoft.com/office/powerpoint/2010/main" val="11764232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bild grön">
    <p:bg>
      <p:bgPr>
        <a:solidFill>
          <a:srgbClr val="87B7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 8">
            <a:extLst>
              <a:ext uri="{FF2B5EF4-FFF2-40B4-BE49-F238E27FC236}">
                <a16:creationId xmlns:a16="http://schemas.microsoft.com/office/drawing/2014/main" id="{02A7090E-B23B-4D2A-B7B8-DC570DB27CF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412856" y="2860312"/>
            <a:ext cx="5366288" cy="955099"/>
            <a:chOff x="8956675" y="7108825"/>
            <a:chExt cx="1284288" cy="287338"/>
          </a:xfrm>
          <a:solidFill>
            <a:schemeClr val="bg1"/>
          </a:solidFill>
        </p:grpSpPr>
        <p:sp>
          <p:nvSpPr>
            <p:cNvPr id="10" name="Freeform 105">
              <a:extLst>
                <a:ext uri="{FF2B5EF4-FFF2-40B4-BE49-F238E27FC236}">
                  <a16:creationId xmlns:a16="http://schemas.microsoft.com/office/drawing/2014/main" id="{3CD7D296-D01F-465B-9503-673484184DC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539288" y="7112000"/>
              <a:ext cx="700088" cy="177800"/>
            </a:xfrm>
            <a:custGeom>
              <a:avLst/>
              <a:gdLst>
                <a:gd name="T0" fmla="*/ 93 w 1099"/>
                <a:gd name="T1" fmla="*/ 277 h 277"/>
                <a:gd name="T2" fmla="*/ 180 w 1099"/>
                <a:gd name="T3" fmla="*/ 204 h 277"/>
                <a:gd name="T4" fmla="*/ 130 w 1099"/>
                <a:gd name="T5" fmla="*/ 137 h 277"/>
                <a:gd name="T6" fmla="*/ 74 w 1099"/>
                <a:gd name="T7" fmla="*/ 119 h 277"/>
                <a:gd name="T8" fmla="*/ 25 w 1099"/>
                <a:gd name="T9" fmla="*/ 63 h 277"/>
                <a:gd name="T10" fmla="*/ 93 w 1099"/>
                <a:gd name="T11" fmla="*/ 11 h 277"/>
                <a:gd name="T12" fmla="*/ 164 w 1099"/>
                <a:gd name="T13" fmla="*/ 50 h 277"/>
                <a:gd name="T14" fmla="*/ 174 w 1099"/>
                <a:gd name="T15" fmla="*/ 45 h 277"/>
                <a:gd name="T16" fmla="*/ 91 w 1099"/>
                <a:gd name="T17" fmla="*/ 0 h 277"/>
                <a:gd name="T18" fmla="*/ 13 w 1099"/>
                <a:gd name="T19" fmla="*/ 65 h 277"/>
                <a:gd name="T20" fmla="*/ 67 w 1099"/>
                <a:gd name="T21" fmla="*/ 130 h 277"/>
                <a:gd name="T22" fmla="*/ 122 w 1099"/>
                <a:gd name="T23" fmla="*/ 147 h 277"/>
                <a:gd name="T24" fmla="*/ 168 w 1099"/>
                <a:gd name="T25" fmla="*/ 206 h 277"/>
                <a:gd name="T26" fmla="*/ 95 w 1099"/>
                <a:gd name="T27" fmla="*/ 266 h 277"/>
                <a:gd name="T28" fmla="*/ 12 w 1099"/>
                <a:gd name="T29" fmla="*/ 211 h 277"/>
                <a:gd name="T30" fmla="*/ 0 w 1099"/>
                <a:gd name="T31" fmla="*/ 215 h 277"/>
                <a:gd name="T32" fmla="*/ 93 w 1099"/>
                <a:gd name="T33" fmla="*/ 277 h 277"/>
                <a:gd name="T34" fmla="*/ 289 w 1099"/>
                <a:gd name="T35" fmla="*/ 272 h 277"/>
                <a:gd name="T36" fmla="*/ 302 w 1099"/>
                <a:gd name="T37" fmla="*/ 272 h 277"/>
                <a:gd name="T38" fmla="*/ 302 w 1099"/>
                <a:gd name="T39" fmla="*/ 16 h 277"/>
                <a:gd name="T40" fmla="*/ 397 w 1099"/>
                <a:gd name="T41" fmla="*/ 16 h 277"/>
                <a:gd name="T42" fmla="*/ 397 w 1099"/>
                <a:gd name="T43" fmla="*/ 5 h 277"/>
                <a:gd name="T44" fmla="*/ 193 w 1099"/>
                <a:gd name="T45" fmla="*/ 5 h 277"/>
                <a:gd name="T46" fmla="*/ 193 w 1099"/>
                <a:gd name="T47" fmla="*/ 16 h 277"/>
                <a:gd name="T48" fmla="*/ 289 w 1099"/>
                <a:gd name="T49" fmla="*/ 16 h 277"/>
                <a:gd name="T50" fmla="*/ 289 w 1099"/>
                <a:gd name="T51" fmla="*/ 272 h 277"/>
                <a:gd name="T52" fmla="*/ 432 w 1099"/>
                <a:gd name="T53" fmla="*/ 272 h 277"/>
                <a:gd name="T54" fmla="*/ 444 w 1099"/>
                <a:gd name="T55" fmla="*/ 272 h 277"/>
                <a:gd name="T56" fmla="*/ 444 w 1099"/>
                <a:gd name="T57" fmla="*/ 138 h 277"/>
                <a:gd name="T58" fmla="*/ 606 w 1099"/>
                <a:gd name="T59" fmla="*/ 138 h 277"/>
                <a:gd name="T60" fmla="*/ 606 w 1099"/>
                <a:gd name="T61" fmla="*/ 272 h 277"/>
                <a:gd name="T62" fmla="*/ 618 w 1099"/>
                <a:gd name="T63" fmla="*/ 272 h 277"/>
                <a:gd name="T64" fmla="*/ 618 w 1099"/>
                <a:gd name="T65" fmla="*/ 5 h 277"/>
                <a:gd name="T66" fmla="*/ 606 w 1099"/>
                <a:gd name="T67" fmla="*/ 5 h 277"/>
                <a:gd name="T68" fmla="*/ 606 w 1099"/>
                <a:gd name="T69" fmla="*/ 127 h 277"/>
                <a:gd name="T70" fmla="*/ 444 w 1099"/>
                <a:gd name="T71" fmla="*/ 127 h 277"/>
                <a:gd name="T72" fmla="*/ 444 w 1099"/>
                <a:gd name="T73" fmla="*/ 5 h 277"/>
                <a:gd name="T74" fmla="*/ 432 w 1099"/>
                <a:gd name="T75" fmla="*/ 5 h 277"/>
                <a:gd name="T76" fmla="*/ 432 w 1099"/>
                <a:gd name="T77" fmla="*/ 272 h 277"/>
                <a:gd name="T78" fmla="*/ 683 w 1099"/>
                <a:gd name="T79" fmla="*/ 272 h 277"/>
                <a:gd name="T80" fmla="*/ 841 w 1099"/>
                <a:gd name="T81" fmla="*/ 272 h 277"/>
                <a:gd name="T82" fmla="*/ 841 w 1099"/>
                <a:gd name="T83" fmla="*/ 261 h 277"/>
                <a:gd name="T84" fmla="*/ 695 w 1099"/>
                <a:gd name="T85" fmla="*/ 261 h 277"/>
                <a:gd name="T86" fmla="*/ 695 w 1099"/>
                <a:gd name="T87" fmla="*/ 5 h 277"/>
                <a:gd name="T88" fmla="*/ 683 w 1099"/>
                <a:gd name="T89" fmla="*/ 5 h 277"/>
                <a:gd name="T90" fmla="*/ 683 w 1099"/>
                <a:gd name="T91" fmla="*/ 272 h 277"/>
                <a:gd name="T92" fmla="*/ 874 w 1099"/>
                <a:gd name="T93" fmla="*/ 272 h 277"/>
                <a:gd name="T94" fmla="*/ 886 w 1099"/>
                <a:gd name="T95" fmla="*/ 272 h 277"/>
                <a:gd name="T96" fmla="*/ 886 w 1099"/>
                <a:gd name="T97" fmla="*/ 25 h 277"/>
                <a:gd name="T98" fmla="*/ 887 w 1099"/>
                <a:gd name="T99" fmla="*/ 25 h 277"/>
                <a:gd name="T100" fmla="*/ 981 w 1099"/>
                <a:gd name="T101" fmla="*/ 183 h 277"/>
                <a:gd name="T102" fmla="*/ 991 w 1099"/>
                <a:gd name="T103" fmla="*/ 183 h 277"/>
                <a:gd name="T104" fmla="*/ 1086 w 1099"/>
                <a:gd name="T105" fmla="*/ 25 h 277"/>
                <a:gd name="T106" fmla="*/ 1086 w 1099"/>
                <a:gd name="T107" fmla="*/ 25 h 277"/>
                <a:gd name="T108" fmla="*/ 1086 w 1099"/>
                <a:gd name="T109" fmla="*/ 272 h 277"/>
                <a:gd name="T110" fmla="*/ 1099 w 1099"/>
                <a:gd name="T111" fmla="*/ 272 h 277"/>
                <a:gd name="T112" fmla="*/ 1099 w 1099"/>
                <a:gd name="T113" fmla="*/ 5 h 277"/>
                <a:gd name="T114" fmla="*/ 1082 w 1099"/>
                <a:gd name="T115" fmla="*/ 5 h 277"/>
                <a:gd name="T116" fmla="*/ 987 w 1099"/>
                <a:gd name="T117" fmla="*/ 166 h 277"/>
                <a:gd name="T118" fmla="*/ 986 w 1099"/>
                <a:gd name="T119" fmla="*/ 166 h 277"/>
                <a:gd name="T120" fmla="*/ 889 w 1099"/>
                <a:gd name="T121" fmla="*/ 5 h 277"/>
                <a:gd name="T122" fmla="*/ 874 w 1099"/>
                <a:gd name="T123" fmla="*/ 5 h 277"/>
                <a:gd name="T124" fmla="*/ 874 w 1099"/>
                <a:gd name="T125" fmla="*/ 272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99" h="277">
                  <a:moveTo>
                    <a:pt x="93" y="277"/>
                  </a:moveTo>
                  <a:cubicBezTo>
                    <a:pt x="148" y="277"/>
                    <a:pt x="180" y="246"/>
                    <a:pt x="180" y="204"/>
                  </a:cubicBezTo>
                  <a:cubicBezTo>
                    <a:pt x="180" y="166"/>
                    <a:pt x="161" y="146"/>
                    <a:pt x="130" y="137"/>
                  </a:cubicBezTo>
                  <a:cubicBezTo>
                    <a:pt x="74" y="119"/>
                    <a:pt x="74" y="119"/>
                    <a:pt x="74" y="119"/>
                  </a:cubicBezTo>
                  <a:cubicBezTo>
                    <a:pt x="33" y="107"/>
                    <a:pt x="25" y="87"/>
                    <a:pt x="25" y="63"/>
                  </a:cubicBezTo>
                  <a:cubicBezTo>
                    <a:pt x="25" y="28"/>
                    <a:pt x="59" y="11"/>
                    <a:pt x="93" y="11"/>
                  </a:cubicBezTo>
                  <a:cubicBezTo>
                    <a:pt x="127" y="11"/>
                    <a:pt x="150" y="26"/>
                    <a:pt x="164" y="50"/>
                  </a:cubicBezTo>
                  <a:cubicBezTo>
                    <a:pt x="174" y="45"/>
                    <a:pt x="174" y="45"/>
                    <a:pt x="174" y="45"/>
                  </a:cubicBezTo>
                  <a:cubicBezTo>
                    <a:pt x="159" y="13"/>
                    <a:pt x="129" y="0"/>
                    <a:pt x="91" y="0"/>
                  </a:cubicBezTo>
                  <a:cubicBezTo>
                    <a:pt x="46" y="0"/>
                    <a:pt x="13" y="27"/>
                    <a:pt x="13" y="65"/>
                  </a:cubicBezTo>
                  <a:cubicBezTo>
                    <a:pt x="13" y="95"/>
                    <a:pt x="28" y="117"/>
                    <a:pt x="67" y="130"/>
                  </a:cubicBezTo>
                  <a:cubicBezTo>
                    <a:pt x="122" y="147"/>
                    <a:pt x="122" y="147"/>
                    <a:pt x="122" y="147"/>
                  </a:cubicBezTo>
                  <a:cubicBezTo>
                    <a:pt x="149" y="156"/>
                    <a:pt x="168" y="170"/>
                    <a:pt x="168" y="206"/>
                  </a:cubicBezTo>
                  <a:cubicBezTo>
                    <a:pt x="168" y="242"/>
                    <a:pt x="137" y="266"/>
                    <a:pt x="95" y="266"/>
                  </a:cubicBezTo>
                  <a:cubicBezTo>
                    <a:pt x="52" y="266"/>
                    <a:pt x="23" y="246"/>
                    <a:pt x="12" y="211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11" y="253"/>
                    <a:pt x="45" y="277"/>
                    <a:pt x="93" y="277"/>
                  </a:cubicBezTo>
                  <a:moveTo>
                    <a:pt x="289" y="272"/>
                  </a:moveTo>
                  <a:cubicBezTo>
                    <a:pt x="302" y="272"/>
                    <a:pt x="302" y="272"/>
                    <a:pt x="302" y="272"/>
                  </a:cubicBezTo>
                  <a:cubicBezTo>
                    <a:pt x="302" y="16"/>
                    <a:pt x="302" y="16"/>
                    <a:pt x="302" y="16"/>
                  </a:cubicBezTo>
                  <a:cubicBezTo>
                    <a:pt x="397" y="16"/>
                    <a:pt x="397" y="16"/>
                    <a:pt x="397" y="16"/>
                  </a:cubicBezTo>
                  <a:cubicBezTo>
                    <a:pt x="397" y="5"/>
                    <a:pt x="397" y="5"/>
                    <a:pt x="397" y="5"/>
                  </a:cubicBezTo>
                  <a:cubicBezTo>
                    <a:pt x="193" y="5"/>
                    <a:pt x="193" y="5"/>
                    <a:pt x="193" y="5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289" y="16"/>
                    <a:pt x="289" y="16"/>
                    <a:pt x="289" y="16"/>
                  </a:cubicBezTo>
                  <a:lnTo>
                    <a:pt x="289" y="272"/>
                  </a:lnTo>
                  <a:close/>
                  <a:moveTo>
                    <a:pt x="432" y="272"/>
                  </a:moveTo>
                  <a:cubicBezTo>
                    <a:pt x="444" y="272"/>
                    <a:pt x="444" y="272"/>
                    <a:pt x="444" y="272"/>
                  </a:cubicBezTo>
                  <a:cubicBezTo>
                    <a:pt x="444" y="138"/>
                    <a:pt x="444" y="138"/>
                    <a:pt x="444" y="138"/>
                  </a:cubicBezTo>
                  <a:cubicBezTo>
                    <a:pt x="606" y="138"/>
                    <a:pt x="606" y="138"/>
                    <a:pt x="606" y="138"/>
                  </a:cubicBezTo>
                  <a:cubicBezTo>
                    <a:pt x="606" y="272"/>
                    <a:pt x="606" y="272"/>
                    <a:pt x="606" y="272"/>
                  </a:cubicBezTo>
                  <a:cubicBezTo>
                    <a:pt x="618" y="272"/>
                    <a:pt x="618" y="272"/>
                    <a:pt x="618" y="272"/>
                  </a:cubicBezTo>
                  <a:cubicBezTo>
                    <a:pt x="618" y="5"/>
                    <a:pt x="618" y="5"/>
                    <a:pt x="618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127"/>
                    <a:pt x="606" y="127"/>
                    <a:pt x="606" y="127"/>
                  </a:cubicBezTo>
                  <a:cubicBezTo>
                    <a:pt x="444" y="127"/>
                    <a:pt x="444" y="127"/>
                    <a:pt x="444" y="127"/>
                  </a:cubicBezTo>
                  <a:cubicBezTo>
                    <a:pt x="444" y="5"/>
                    <a:pt x="444" y="5"/>
                    <a:pt x="444" y="5"/>
                  </a:cubicBezTo>
                  <a:cubicBezTo>
                    <a:pt x="432" y="5"/>
                    <a:pt x="432" y="5"/>
                    <a:pt x="432" y="5"/>
                  </a:cubicBezTo>
                  <a:lnTo>
                    <a:pt x="432" y="272"/>
                  </a:lnTo>
                  <a:close/>
                  <a:moveTo>
                    <a:pt x="683" y="272"/>
                  </a:moveTo>
                  <a:cubicBezTo>
                    <a:pt x="841" y="272"/>
                    <a:pt x="841" y="272"/>
                    <a:pt x="841" y="272"/>
                  </a:cubicBezTo>
                  <a:cubicBezTo>
                    <a:pt x="841" y="261"/>
                    <a:pt x="841" y="261"/>
                    <a:pt x="841" y="261"/>
                  </a:cubicBezTo>
                  <a:cubicBezTo>
                    <a:pt x="695" y="261"/>
                    <a:pt x="695" y="261"/>
                    <a:pt x="695" y="261"/>
                  </a:cubicBezTo>
                  <a:cubicBezTo>
                    <a:pt x="695" y="5"/>
                    <a:pt x="695" y="5"/>
                    <a:pt x="695" y="5"/>
                  </a:cubicBezTo>
                  <a:cubicBezTo>
                    <a:pt x="683" y="5"/>
                    <a:pt x="683" y="5"/>
                    <a:pt x="683" y="5"/>
                  </a:cubicBezTo>
                  <a:lnTo>
                    <a:pt x="683" y="272"/>
                  </a:lnTo>
                  <a:close/>
                  <a:moveTo>
                    <a:pt x="874" y="272"/>
                  </a:moveTo>
                  <a:cubicBezTo>
                    <a:pt x="886" y="272"/>
                    <a:pt x="886" y="272"/>
                    <a:pt x="886" y="272"/>
                  </a:cubicBezTo>
                  <a:cubicBezTo>
                    <a:pt x="886" y="25"/>
                    <a:pt x="886" y="25"/>
                    <a:pt x="886" y="25"/>
                  </a:cubicBezTo>
                  <a:cubicBezTo>
                    <a:pt x="887" y="25"/>
                    <a:pt x="887" y="25"/>
                    <a:pt x="887" y="25"/>
                  </a:cubicBezTo>
                  <a:cubicBezTo>
                    <a:pt x="981" y="183"/>
                    <a:pt x="981" y="183"/>
                    <a:pt x="981" y="183"/>
                  </a:cubicBezTo>
                  <a:cubicBezTo>
                    <a:pt x="991" y="183"/>
                    <a:pt x="991" y="183"/>
                    <a:pt x="991" y="183"/>
                  </a:cubicBezTo>
                  <a:cubicBezTo>
                    <a:pt x="1086" y="25"/>
                    <a:pt x="1086" y="25"/>
                    <a:pt x="1086" y="25"/>
                  </a:cubicBezTo>
                  <a:cubicBezTo>
                    <a:pt x="1086" y="25"/>
                    <a:pt x="1086" y="25"/>
                    <a:pt x="1086" y="25"/>
                  </a:cubicBezTo>
                  <a:cubicBezTo>
                    <a:pt x="1086" y="272"/>
                    <a:pt x="1086" y="272"/>
                    <a:pt x="1086" y="272"/>
                  </a:cubicBezTo>
                  <a:cubicBezTo>
                    <a:pt x="1099" y="272"/>
                    <a:pt x="1099" y="272"/>
                    <a:pt x="1099" y="272"/>
                  </a:cubicBezTo>
                  <a:cubicBezTo>
                    <a:pt x="1099" y="5"/>
                    <a:pt x="1099" y="5"/>
                    <a:pt x="1099" y="5"/>
                  </a:cubicBezTo>
                  <a:cubicBezTo>
                    <a:pt x="1082" y="5"/>
                    <a:pt x="1082" y="5"/>
                    <a:pt x="1082" y="5"/>
                  </a:cubicBezTo>
                  <a:cubicBezTo>
                    <a:pt x="987" y="166"/>
                    <a:pt x="987" y="166"/>
                    <a:pt x="987" y="166"/>
                  </a:cubicBezTo>
                  <a:cubicBezTo>
                    <a:pt x="986" y="166"/>
                    <a:pt x="986" y="166"/>
                    <a:pt x="986" y="166"/>
                  </a:cubicBezTo>
                  <a:cubicBezTo>
                    <a:pt x="889" y="5"/>
                    <a:pt x="889" y="5"/>
                    <a:pt x="889" y="5"/>
                  </a:cubicBezTo>
                  <a:cubicBezTo>
                    <a:pt x="874" y="5"/>
                    <a:pt x="874" y="5"/>
                    <a:pt x="874" y="5"/>
                  </a:cubicBezTo>
                  <a:lnTo>
                    <a:pt x="874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33"/>
            </a:p>
          </p:txBody>
        </p:sp>
        <p:sp>
          <p:nvSpPr>
            <p:cNvPr id="11" name="Freeform 106">
              <a:extLst>
                <a:ext uri="{FF2B5EF4-FFF2-40B4-BE49-F238E27FC236}">
                  <a16:creationId xmlns:a16="http://schemas.microsoft.com/office/drawing/2014/main" id="{792185E3-C2A5-4621-A6D7-0121D5E8B54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9448800" y="7108825"/>
              <a:ext cx="66675" cy="184150"/>
            </a:xfrm>
            <a:custGeom>
              <a:avLst/>
              <a:gdLst>
                <a:gd name="T0" fmla="*/ 0 w 42"/>
                <a:gd name="T1" fmla="*/ 116 h 116"/>
                <a:gd name="T2" fmla="*/ 10 w 42"/>
                <a:gd name="T3" fmla="*/ 116 h 116"/>
                <a:gd name="T4" fmla="*/ 10 w 42"/>
                <a:gd name="T5" fmla="*/ 0 h 116"/>
                <a:gd name="T6" fmla="*/ 0 w 42"/>
                <a:gd name="T7" fmla="*/ 0 h 116"/>
                <a:gd name="T8" fmla="*/ 0 w 42"/>
                <a:gd name="T9" fmla="*/ 116 h 116"/>
                <a:gd name="T10" fmla="*/ 17 w 42"/>
                <a:gd name="T11" fmla="*/ 116 h 116"/>
                <a:gd name="T12" fmla="*/ 26 w 42"/>
                <a:gd name="T13" fmla="*/ 116 h 116"/>
                <a:gd name="T14" fmla="*/ 26 w 42"/>
                <a:gd name="T15" fmla="*/ 0 h 116"/>
                <a:gd name="T16" fmla="*/ 17 w 42"/>
                <a:gd name="T17" fmla="*/ 0 h 116"/>
                <a:gd name="T18" fmla="*/ 17 w 42"/>
                <a:gd name="T19" fmla="*/ 116 h 116"/>
                <a:gd name="T20" fmla="*/ 33 w 42"/>
                <a:gd name="T21" fmla="*/ 116 h 116"/>
                <a:gd name="T22" fmla="*/ 42 w 42"/>
                <a:gd name="T23" fmla="*/ 116 h 116"/>
                <a:gd name="T24" fmla="*/ 42 w 42"/>
                <a:gd name="T25" fmla="*/ 0 h 116"/>
                <a:gd name="T26" fmla="*/ 33 w 42"/>
                <a:gd name="T27" fmla="*/ 0 h 116"/>
                <a:gd name="T28" fmla="*/ 33 w 42"/>
                <a:gd name="T2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116">
                  <a:moveTo>
                    <a:pt x="0" y="116"/>
                  </a:moveTo>
                  <a:lnTo>
                    <a:pt x="10" y="116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116"/>
                  </a:lnTo>
                  <a:close/>
                  <a:moveTo>
                    <a:pt x="17" y="116"/>
                  </a:moveTo>
                  <a:lnTo>
                    <a:pt x="26" y="116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17" y="116"/>
                  </a:lnTo>
                  <a:close/>
                  <a:moveTo>
                    <a:pt x="33" y="116"/>
                  </a:moveTo>
                  <a:lnTo>
                    <a:pt x="42" y="116"/>
                  </a:lnTo>
                  <a:lnTo>
                    <a:pt x="42" y="0"/>
                  </a:lnTo>
                  <a:lnTo>
                    <a:pt x="33" y="0"/>
                  </a:lnTo>
                  <a:lnTo>
                    <a:pt x="33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33"/>
            </a:p>
          </p:txBody>
        </p:sp>
        <p:sp>
          <p:nvSpPr>
            <p:cNvPr id="12" name="Freeform 107">
              <a:extLst>
                <a:ext uri="{FF2B5EF4-FFF2-40B4-BE49-F238E27FC236}">
                  <a16:creationId xmlns:a16="http://schemas.microsoft.com/office/drawing/2014/main" id="{A715C7D9-9516-40A2-B9BB-9F808473376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56675" y="7108825"/>
              <a:ext cx="463550" cy="209550"/>
            </a:xfrm>
            <a:custGeom>
              <a:avLst/>
              <a:gdLst>
                <a:gd name="T0" fmla="*/ 196 w 728"/>
                <a:gd name="T1" fmla="*/ 326 h 326"/>
                <a:gd name="T2" fmla="*/ 231 w 728"/>
                <a:gd name="T3" fmla="*/ 289 h 326"/>
                <a:gd name="T4" fmla="*/ 188 w 728"/>
                <a:gd name="T5" fmla="*/ 264 h 326"/>
                <a:gd name="T6" fmla="*/ 225 w 728"/>
                <a:gd name="T7" fmla="*/ 186 h 326"/>
                <a:gd name="T8" fmla="*/ 225 w 728"/>
                <a:gd name="T9" fmla="*/ 102 h 326"/>
                <a:gd name="T10" fmla="*/ 112 w 728"/>
                <a:gd name="T11" fmla="*/ 0 h 326"/>
                <a:gd name="T12" fmla="*/ 0 w 728"/>
                <a:gd name="T13" fmla="*/ 103 h 326"/>
                <a:gd name="T14" fmla="*/ 0 w 728"/>
                <a:gd name="T15" fmla="*/ 192 h 326"/>
                <a:gd name="T16" fmla="*/ 114 w 728"/>
                <a:gd name="T17" fmla="*/ 289 h 326"/>
                <a:gd name="T18" fmla="*/ 138 w 728"/>
                <a:gd name="T19" fmla="*/ 286 h 326"/>
                <a:gd name="T20" fmla="*/ 196 w 728"/>
                <a:gd name="T21" fmla="*/ 326 h 326"/>
                <a:gd name="T22" fmla="*/ 114 w 728"/>
                <a:gd name="T23" fmla="*/ 243 h 326"/>
                <a:gd name="T24" fmla="*/ 52 w 728"/>
                <a:gd name="T25" fmla="*/ 190 h 326"/>
                <a:gd name="T26" fmla="*/ 52 w 728"/>
                <a:gd name="T27" fmla="*/ 100 h 326"/>
                <a:gd name="T28" fmla="*/ 112 w 728"/>
                <a:gd name="T29" fmla="*/ 46 h 326"/>
                <a:gd name="T30" fmla="*/ 174 w 728"/>
                <a:gd name="T31" fmla="*/ 99 h 326"/>
                <a:gd name="T32" fmla="*/ 174 w 728"/>
                <a:gd name="T33" fmla="*/ 188 h 326"/>
                <a:gd name="T34" fmla="*/ 114 w 728"/>
                <a:gd name="T35" fmla="*/ 243 h 326"/>
                <a:gd name="T36" fmla="*/ 271 w 728"/>
                <a:gd name="T37" fmla="*/ 284 h 326"/>
                <a:gd name="T38" fmla="*/ 323 w 728"/>
                <a:gd name="T39" fmla="*/ 284 h 326"/>
                <a:gd name="T40" fmla="*/ 323 w 728"/>
                <a:gd name="T41" fmla="*/ 179 h 326"/>
                <a:gd name="T42" fmla="*/ 368 w 728"/>
                <a:gd name="T43" fmla="*/ 179 h 326"/>
                <a:gd name="T44" fmla="*/ 434 w 728"/>
                <a:gd name="T45" fmla="*/ 284 h 326"/>
                <a:gd name="T46" fmla="*/ 491 w 728"/>
                <a:gd name="T47" fmla="*/ 284 h 326"/>
                <a:gd name="T48" fmla="*/ 421 w 728"/>
                <a:gd name="T49" fmla="*/ 174 h 326"/>
                <a:gd name="T50" fmla="*/ 477 w 728"/>
                <a:gd name="T51" fmla="*/ 92 h 326"/>
                <a:gd name="T52" fmla="*/ 382 w 728"/>
                <a:gd name="T53" fmla="*/ 4 h 326"/>
                <a:gd name="T54" fmla="*/ 271 w 728"/>
                <a:gd name="T55" fmla="*/ 4 h 326"/>
                <a:gd name="T56" fmla="*/ 271 w 728"/>
                <a:gd name="T57" fmla="*/ 284 h 326"/>
                <a:gd name="T58" fmla="*/ 323 w 728"/>
                <a:gd name="T59" fmla="*/ 136 h 326"/>
                <a:gd name="T60" fmla="*/ 323 w 728"/>
                <a:gd name="T61" fmla="*/ 48 h 326"/>
                <a:gd name="T62" fmla="*/ 375 w 728"/>
                <a:gd name="T63" fmla="*/ 48 h 326"/>
                <a:gd name="T64" fmla="*/ 426 w 728"/>
                <a:gd name="T65" fmla="*/ 92 h 326"/>
                <a:gd name="T66" fmla="*/ 375 w 728"/>
                <a:gd name="T67" fmla="*/ 136 h 326"/>
                <a:gd name="T68" fmla="*/ 323 w 728"/>
                <a:gd name="T69" fmla="*/ 136 h 326"/>
                <a:gd name="T70" fmla="*/ 623 w 728"/>
                <a:gd name="T71" fmla="*/ 289 h 326"/>
                <a:gd name="T72" fmla="*/ 728 w 728"/>
                <a:gd name="T73" fmla="*/ 197 h 326"/>
                <a:gd name="T74" fmla="*/ 728 w 728"/>
                <a:gd name="T75" fmla="*/ 188 h 326"/>
                <a:gd name="T76" fmla="*/ 679 w 728"/>
                <a:gd name="T77" fmla="*/ 188 h 326"/>
                <a:gd name="T78" fmla="*/ 679 w 728"/>
                <a:gd name="T79" fmla="*/ 192 h 326"/>
                <a:gd name="T80" fmla="*/ 623 w 728"/>
                <a:gd name="T81" fmla="*/ 243 h 326"/>
                <a:gd name="T82" fmla="*/ 561 w 728"/>
                <a:gd name="T83" fmla="*/ 190 h 326"/>
                <a:gd name="T84" fmla="*/ 561 w 728"/>
                <a:gd name="T85" fmla="*/ 100 h 326"/>
                <a:gd name="T86" fmla="*/ 621 w 728"/>
                <a:gd name="T87" fmla="*/ 46 h 326"/>
                <a:gd name="T88" fmla="*/ 679 w 728"/>
                <a:gd name="T89" fmla="*/ 97 h 326"/>
                <a:gd name="T90" fmla="*/ 679 w 728"/>
                <a:gd name="T91" fmla="*/ 101 h 326"/>
                <a:gd name="T92" fmla="*/ 728 w 728"/>
                <a:gd name="T93" fmla="*/ 101 h 326"/>
                <a:gd name="T94" fmla="*/ 728 w 728"/>
                <a:gd name="T95" fmla="*/ 92 h 326"/>
                <a:gd name="T96" fmla="*/ 621 w 728"/>
                <a:gd name="T97" fmla="*/ 0 h 326"/>
                <a:gd name="T98" fmla="*/ 510 w 728"/>
                <a:gd name="T99" fmla="*/ 103 h 326"/>
                <a:gd name="T100" fmla="*/ 510 w 728"/>
                <a:gd name="T101" fmla="*/ 192 h 326"/>
                <a:gd name="T102" fmla="*/ 623 w 728"/>
                <a:gd name="T103" fmla="*/ 28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28" h="326">
                  <a:moveTo>
                    <a:pt x="196" y="326"/>
                  </a:moveTo>
                  <a:cubicBezTo>
                    <a:pt x="231" y="289"/>
                    <a:pt x="231" y="289"/>
                    <a:pt x="231" y="289"/>
                  </a:cubicBezTo>
                  <a:cubicBezTo>
                    <a:pt x="188" y="264"/>
                    <a:pt x="188" y="264"/>
                    <a:pt x="188" y="264"/>
                  </a:cubicBezTo>
                  <a:cubicBezTo>
                    <a:pt x="210" y="247"/>
                    <a:pt x="225" y="220"/>
                    <a:pt x="225" y="186"/>
                  </a:cubicBezTo>
                  <a:cubicBezTo>
                    <a:pt x="225" y="102"/>
                    <a:pt x="225" y="102"/>
                    <a:pt x="225" y="102"/>
                  </a:cubicBezTo>
                  <a:cubicBezTo>
                    <a:pt x="225" y="39"/>
                    <a:pt x="172" y="0"/>
                    <a:pt x="112" y="0"/>
                  </a:cubicBezTo>
                  <a:cubicBezTo>
                    <a:pt x="56" y="0"/>
                    <a:pt x="0" y="37"/>
                    <a:pt x="0" y="103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55"/>
                    <a:pt x="53" y="289"/>
                    <a:pt x="114" y="289"/>
                  </a:cubicBezTo>
                  <a:cubicBezTo>
                    <a:pt x="122" y="289"/>
                    <a:pt x="130" y="288"/>
                    <a:pt x="138" y="286"/>
                  </a:cubicBezTo>
                  <a:lnTo>
                    <a:pt x="196" y="326"/>
                  </a:lnTo>
                  <a:close/>
                  <a:moveTo>
                    <a:pt x="114" y="243"/>
                  </a:moveTo>
                  <a:cubicBezTo>
                    <a:pt x="81" y="243"/>
                    <a:pt x="52" y="223"/>
                    <a:pt x="52" y="19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60"/>
                    <a:pt x="85" y="46"/>
                    <a:pt x="112" y="46"/>
                  </a:cubicBezTo>
                  <a:cubicBezTo>
                    <a:pt x="145" y="46"/>
                    <a:pt x="174" y="65"/>
                    <a:pt x="174" y="99"/>
                  </a:cubicBezTo>
                  <a:cubicBezTo>
                    <a:pt x="174" y="188"/>
                    <a:pt x="174" y="188"/>
                    <a:pt x="174" y="188"/>
                  </a:cubicBezTo>
                  <a:cubicBezTo>
                    <a:pt x="174" y="229"/>
                    <a:pt x="140" y="243"/>
                    <a:pt x="114" y="243"/>
                  </a:cubicBezTo>
                  <a:moveTo>
                    <a:pt x="271" y="284"/>
                  </a:moveTo>
                  <a:cubicBezTo>
                    <a:pt x="323" y="284"/>
                    <a:pt x="323" y="284"/>
                    <a:pt x="323" y="284"/>
                  </a:cubicBezTo>
                  <a:cubicBezTo>
                    <a:pt x="323" y="179"/>
                    <a:pt x="323" y="179"/>
                    <a:pt x="323" y="179"/>
                  </a:cubicBezTo>
                  <a:cubicBezTo>
                    <a:pt x="368" y="179"/>
                    <a:pt x="368" y="179"/>
                    <a:pt x="368" y="179"/>
                  </a:cubicBezTo>
                  <a:cubicBezTo>
                    <a:pt x="434" y="284"/>
                    <a:pt x="434" y="284"/>
                    <a:pt x="434" y="284"/>
                  </a:cubicBezTo>
                  <a:cubicBezTo>
                    <a:pt x="491" y="284"/>
                    <a:pt x="491" y="284"/>
                    <a:pt x="491" y="284"/>
                  </a:cubicBezTo>
                  <a:cubicBezTo>
                    <a:pt x="421" y="174"/>
                    <a:pt x="421" y="174"/>
                    <a:pt x="421" y="174"/>
                  </a:cubicBezTo>
                  <a:cubicBezTo>
                    <a:pt x="459" y="160"/>
                    <a:pt x="477" y="126"/>
                    <a:pt x="477" y="92"/>
                  </a:cubicBezTo>
                  <a:cubicBezTo>
                    <a:pt x="477" y="35"/>
                    <a:pt x="434" y="4"/>
                    <a:pt x="382" y="4"/>
                  </a:cubicBezTo>
                  <a:cubicBezTo>
                    <a:pt x="271" y="4"/>
                    <a:pt x="271" y="4"/>
                    <a:pt x="271" y="4"/>
                  </a:cubicBezTo>
                  <a:lnTo>
                    <a:pt x="271" y="284"/>
                  </a:lnTo>
                  <a:close/>
                  <a:moveTo>
                    <a:pt x="323" y="136"/>
                  </a:moveTo>
                  <a:cubicBezTo>
                    <a:pt x="323" y="48"/>
                    <a:pt x="323" y="48"/>
                    <a:pt x="323" y="48"/>
                  </a:cubicBezTo>
                  <a:cubicBezTo>
                    <a:pt x="375" y="48"/>
                    <a:pt x="375" y="48"/>
                    <a:pt x="375" y="48"/>
                  </a:cubicBezTo>
                  <a:cubicBezTo>
                    <a:pt x="404" y="48"/>
                    <a:pt x="426" y="59"/>
                    <a:pt x="426" y="92"/>
                  </a:cubicBezTo>
                  <a:cubicBezTo>
                    <a:pt x="426" y="121"/>
                    <a:pt x="406" y="136"/>
                    <a:pt x="375" y="136"/>
                  </a:cubicBezTo>
                  <a:lnTo>
                    <a:pt x="323" y="136"/>
                  </a:lnTo>
                  <a:close/>
                  <a:moveTo>
                    <a:pt x="623" y="289"/>
                  </a:moveTo>
                  <a:cubicBezTo>
                    <a:pt x="677" y="289"/>
                    <a:pt x="728" y="259"/>
                    <a:pt x="728" y="197"/>
                  </a:cubicBezTo>
                  <a:cubicBezTo>
                    <a:pt x="728" y="188"/>
                    <a:pt x="728" y="188"/>
                    <a:pt x="728" y="188"/>
                  </a:cubicBezTo>
                  <a:cubicBezTo>
                    <a:pt x="679" y="188"/>
                    <a:pt x="679" y="188"/>
                    <a:pt x="679" y="188"/>
                  </a:cubicBezTo>
                  <a:cubicBezTo>
                    <a:pt x="679" y="192"/>
                    <a:pt x="679" y="192"/>
                    <a:pt x="679" y="192"/>
                  </a:cubicBezTo>
                  <a:cubicBezTo>
                    <a:pt x="679" y="229"/>
                    <a:pt x="649" y="243"/>
                    <a:pt x="623" y="243"/>
                  </a:cubicBezTo>
                  <a:cubicBezTo>
                    <a:pt x="590" y="243"/>
                    <a:pt x="561" y="223"/>
                    <a:pt x="561" y="190"/>
                  </a:cubicBezTo>
                  <a:cubicBezTo>
                    <a:pt x="561" y="100"/>
                    <a:pt x="561" y="100"/>
                    <a:pt x="561" y="100"/>
                  </a:cubicBezTo>
                  <a:cubicBezTo>
                    <a:pt x="561" y="60"/>
                    <a:pt x="595" y="46"/>
                    <a:pt x="621" y="46"/>
                  </a:cubicBezTo>
                  <a:cubicBezTo>
                    <a:pt x="647" y="46"/>
                    <a:pt x="679" y="60"/>
                    <a:pt x="679" y="97"/>
                  </a:cubicBezTo>
                  <a:cubicBezTo>
                    <a:pt x="679" y="101"/>
                    <a:pt x="679" y="101"/>
                    <a:pt x="679" y="101"/>
                  </a:cubicBezTo>
                  <a:cubicBezTo>
                    <a:pt x="728" y="101"/>
                    <a:pt x="728" y="101"/>
                    <a:pt x="728" y="101"/>
                  </a:cubicBezTo>
                  <a:cubicBezTo>
                    <a:pt x="728" y="92"/>
                    <a:pt x="728" y="92"/>
                    <a:pt x="728" y="92"/>
                  </a:cubicBezTo>
                  <a:cubicBezTo>
                    <a:pt x="728" y="30"/>
                    <a:pt x="675" y="0"/>
                    <a:pt x="621" y="0"/>
                  </a:cubicBezTo>
                  <a:cubicBezTo>
                    <a:pt x="560" y="0"/>
                    <a:pt x="510" y="37"/>
                    <a:pt x="510" y="103"/>
                  </a:cubicBezTo>
                  <a:cubicBezTo>
                    <a:pt x="510" y="192"/>
                    <a:pt x="510" y="192"/>
                    <a:pt x="510" y="192"/>
                  </a:cubicBezTo>
                  <a:cubicBezTo>
                    <a:pt x="510" y="255"/>
                    <a:pt x="562" y="289"/>
                    <a:pt x="623" y="28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33"/>
            </a:p>
          </p:txBody>
        </p:sp>
        <p:sp>
          <p:nvSpPr>
            <p:cNvPr id="13" name="Freeform 108">
              <a:extLst>
                <a:ext uri="{FF2B5EF4-FFF2-40B4-BE49-F238E27FC236}">
                  <a16:creationId xmlns:a16="http://schemas.microsoft.com/office/drawing/2014/main" id="{6826775D-ADD2-4C81-870E-5340B48614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966200" y="7346950"/>
              <a:ext cx="1274763" cy="49213"/>
            </a:xfrm>
            <a:custGeom>
              <a:avLst/>
              <a:gdLst>
                <a:gd name="T0" fmla="*/ 1984 w 2000"/>
                <a:gd name="T1" fmla="*/ 19 h 75"/>
                <a:gd name="T2" fmla="*/ 1959 w 2000"/>
                <a:gd name="T3" fmla="*/ 48 h 75"/>
                <a:gd name="T4" fmla="*/ 1866 w 2000"/>
                <a:gd name="T5" fmla="*/ 51 h 75"/>
                <a:gd name="T6" fmla="*/ 1839 w 2000"/>
                <a:gd name="T7" fmla="*/ 45 h 75"/>
                <a:gd name="T8" fmla="*/ 1853 w 2000"/>
                <a:gd name="T9" fmla="*/ 75 h 75"/>
                <a:gd name="T10" fmla="*/ 1762 w 2000"/>
                <a:gd name="T11" fmla="*/ 15 h 75"/>
                <a:gd name="T12" fmla="*/ 1766 w 2000"/>
                <a:gd name="T13" fmla="*/ 31 h 75"/>
                <a:gd name="T14" fmla="*/ 1760 w 2000"/>
                <a:gd name="T15" fmla="*/ 45 h 75"/>
                <a:gd name="T16" fmla="*/ 1783 w 2000"/>
                <a:gd name="T17" fmla="*/ 7 h 75"/>
                <a:gd name="T18" fmla="*/ 1687 w 2000"/>
                <a:gd name="T19" fmla="*/ 16 h 75"/>
                <a:gd name="T20" fmla="*/ 1554 w 2000"/>
                <a:gd name="T21" fmla="*/ 73 h 75"/>
                <a:gd name="T22" fmla="*/ 1605 w 2000"/>
                <a:gd name="T23" fmla="*/ 2 h 75"/>
                <a:gd name="T24" fmla="*/ 1519 w 2000"/>
                <a:gd name="T25" fmla="*/ 73 h 75"/>
                <a:gd name="T26" fmla="*/ 1485 w 2000"/>
                <a:gd name="T27" fmla="*/ 16 h 75"/>
                <a:gd name="T28" fmla="*/ 1426 w 2000"/>
                <a:gd name="T29" fmla="*/ 3 h 75"/>
                <a:gd name="T30" fmla="*/ 1378 w 2000"/>
                <a:gd name="T31" fmla="*/ 53 h 75"/>
                <a:gd name="T32" fmla="*/ 1420 w 2000"/>
                <a:gd name="T33" fmla="*/ 58 h 75"/>
                <a:gd name="T34" fmla="*/ 1397 w 2000"/>
                <a:gd name="T35" fmla="*/ 21 h 75"/>
                <a:gd name="T36" fmla="*/ 1318 w 2000"/>
                <a:gd name="T37" fmla="*/ 15 h 75"/>
                <a:gd name="T38" fmla="*/ 1321 w 2000"/>
                <a:gd name="T39" fmla="*/ 31 h 75"/>
                <a:gd name="T40" fmla="*/ 1316 w 2000"/>
                <a:gd name="T41" fmla="*/ 45 h 75"/>
                <a:gd name="T42" fmla="*/ 1338 w 2000"/>
                <a:gd name="T43" fmla="*/ 7 h 75"/>
                <a:gd name="T44" fmla="*/ 1257 w 2000"/>
                <a:gd name="T45" fmla="*/ 59 h 75"/>
                <a:gd name="T46" fmla="*/ 1256 w 2000"/>
                <a:gd name="T47" fmla="*/ 16 h 75"/>
                <a:gd name="T48" fmla="*/ 1178 w 2000"/>
                <a:gd name="T49" fmla="*/ 16 h 75"/>
                <a:gd name="T50" fmla="*/ 1083 w 2000"/>
                <a:gd name="T51" fmla="*/ 2 h 75"/>
                <a:gd name="T52" fmla="*/ 1053 w 2000"/>
                <a:gd name="T53" fmla="*/ 39 h 75"/>
                <a:gd name="T54" fmla="*/ 1071 w 2000"/>
                <a:gd name="T55" fmla="*/ 60 h 75"/>
                <a:gd name="T56" fmla="*/ 1076 w 2000"/>
                <a:gd name="T57" fmla="*/ 73 h 75"/>
                <a:gd name="T58" fmla="*/ 1069 w 2000"/>
                <a:gd name="T59" fmla="*/ 30 h 75"/>
                <a:gd name="T60" fmla="*/ 1077 w 2000"/>
                <a:gd name="T61" fmla="*/ 16 h 75"/>
                <a:gd name="T62" fmla="*/ 995 w 2000"/>
                <a:gd name="T63" fmla="*/ 73 h 75"/>
                <a:gd name="T64" fmla="*/ 929 w 2000"/>
                <a:gd name="T65" fmla="*/ 60 h 75"/>
                <a:gd name="T66" fmla="*/ 920 w 2000"/>
                <a:gd name="T67" fmla="*/ 16 h 75"/>
                <a:gd name="T68" fmla="*/ 914 w 2000"/>
                <a:gd name="T69" fmla="*/ 3 h 75"/>
                <a:gd name="T70" fmla="*/ 929 w 2000"/>
                <a:gd name="T71" fmla="*/ 75 h 75"/>
                <a:gd name="T72" fmla="*/ 827 w 2000"/>
                <a:gd name="T73" fmla="*/ 59 h 75"/>
                <a:gd name="T74" fmla="*/ 859 w 2000"/>
                <a:gd name="T75" fmla="*/ 2 h 75"/>
                <a:gd name="T76" fmla="*/ 760 w 2000"/>
                <a:gd name="T77" fmla="*/ 19 h 75"/>
                <a:gd name="T78" fmla="*/ 739 w 2000"/>
                <a:gd name="T79" fmla="*/ 15 h 75"/>
                <a:gd name="T80" fmla="*/ 762 w 2000"/>
                <a:gd name="T81" fmla="*/ 43 h 75"/>
                <a:gd name="T82" fmla="*/ 723 w 2000"/>
                <a:gd name="T83" fmla="*/ 2 h 75"/>
                <a:gd name="T84" fmla="*/ 643 w 2000"/>
                <a:gd name="T85" fmla="*/ 13 h 75"/>
                <a:gd name="T86" fmla="*/ 674 w 2000"/>
                <a:gd name="T87" fmla="*/ 53 h 75"/>
                <a:gd name="T88" fmla="*/ 638 w 2000"/>
                <a:gd name="T89" fmla="*/ 66 h 75"/>
                <a:gd name="T90" fmla="*/ 687 w 2000"/>
                <a:gd name="T91" fmla="*/ 41 h 75"/>
                <a:gd name="T92" fmla="*/ 661 w 2000"/>
                <a:gd name="T93" fmla="*/ 16 h 75"/>
                <a:gd name="T94" fmla="*/ 593 w 2000"/>
                <a:gd name="T95" fmla="*/ 73 h 75"/>
                <a:gd name="T96" fmla="*/ 577 w 2000"/>
                <a:gd name="T97" fmla="*/ 73 h 75"/>
                <a:gd name="T98" fmla="*/ 526 w 2000"/>
                <a:gd name="T99" fmla="*/ 30 h 75"/>
                <a:gd name="T100" fmla="*/ 413 w 2000"/>
                <a:gd name="T101" fmla="*/ 73 h 75"/>
                <a:gd name="T102" fmla="*/ 413 w 2000"/>
                <a:gd name="T103" fmla="*/ 16 h 75"/>
                <a:gd name="T104" fmla="*/ 274 w 2000"/>
                <a:gd name="T105" fmla="*/ 73 h 75"/>
                <a:gd name="T106" fmla="*/ 215 w 2000"/>
                <a:gd name="T107" fmla="*/ 45 h 75"/>
                <a:gd name="T108" fmla="*/ 220 w 2000"/>
                <a:gd name="T109" fmla="*/ 58 h 75"/>
                <a:gd name="T110" fmla="*/ 127 w 2000"/>
                <a:gd name="T111" fmla="*/ 73 h 75"/>
                <a:gd name="T112" fmla="*/ 114 w 2000"/>
                <a:gd name="T113" fmla="*/ 73 h 75"/>
                <a:gd name="T114" fmla="*/ 63 w 2000"/>
                <a:gd name="T115" fmla="*/ 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00" h="75">
                  <a:moveTo>
                    <a:pt x="1919" y="73"/>
                  </a:moveTo>
                  <a:cubicBezTo>
                    <a:pt x="1935" y="73"/>
                    <a:pt x="1935" y="73"/>
                    <a:pt x="1935" y="73"/>
                  </a:cubicBezTo>
                  <a:cubicBezTo>
                    <a:pt x="1935" y="19"/>
                    <a:pt x="1935" y="19"/>
                    <a:pt x="1935" y="19"/>
                  </a:cubicBezTo>
                  <a:cubicBezTo>
                    <a:pt x="1935" y="19"/>
                    <a:pt x="1935" y="19"/>
                    <a:pt x="1935" y="19"/>
                  </a:cubicBezTo>
                  <a:cubicBezTo>
                    <a:pt x="1953" y="73"/>
                    <a:pt x="1953" y="73"/>
                    <a:pt x="1953" y="73"/>
                  </a:cubicBezTo>
                  <a:cubicBezTo>
                    <a:pt x="1965" y="73"/>
                    <a:pt x="1965" y="73"/>
                    <a:pt x="1965" y="73"/>
                  </a:cubicBezTo>
                  <a:cubicBezTo>
                    <a:pt x="1984" y="19"/>
                    <a:pt x="1984" y="19"/>
                    <a:pt x="1984" y="19"/>
                  </a:cubicBezTo>
                  <a:cubicBezTo>
                    <a:pt x="1984" y="19"/>
                    <a:pt x="1984" y="19"/>
                    <a:pt x="1984" y="19"/>
                  </a:cubicBezTo>
                  <a:cubicBezTo>
                    <a:pt x="1984" y="73"/>
                    <a:pt x="1984" y="73"/>
                    <a:pt x="1984" y="73"/>
                  </a:cubicBezTo>
                  <a:cubicBezTo>
                    <a:pt x="2000" y="73"/>
                    <a:pt x="2000" y="73"/>
                    <a:pt x="2000" y="73"/>
                  </a:cubicBezTo>
                  <a:cubicBezTo>
                    <a:pt x="2000" y="2"/>
                    <a:pt x="2000" y="2"/>
                    <a:pt x="2000" y="2"/>
                  </a:cubicBezTo>
                  <a:cubicBezTo>
                    <a:pt x="1976" y="2"/>
                    <a:pt x="1976" y="2"/>
                    <a:pt x="1976" y="2"/>
                  </a:cubicBezTo>
                  <a:cubicBezTo>
                    <a:pt x="1960" y="48"/>
                    <a:pt x="1960" y="48"/>
                    <a:pt x="1960" y="48"/>
                  </a:cubicBezTo>
                  <a:cubicBezTo>
                    <a:pt x="1959" y="48"/>
                    <a:pt x="1959" y="48"/>
                    <a:pt x="1959" y="48"/>
                  </a:cubicBezTo>
                  <a:cubicBezTo>
                    <a:pt x="1943" y="2"/>
                    <a:pt x="1943" y="2"/>
                    <a:pt x="1943" y="2"/>
                  </a:cubicBezTo>
                  <a:cubicBezTo>
                    <a:pt x="1919" y="2"/>
                    <a:pt x="1919" y="2"/>
                    <a:pt x="1919" y="2"/>
                  </a:cubicBezTo>
                  <a:lnTo>
                    <a:pt x="1919" y="73"/>
                  </a:lnTo>
                  <a:close/>
                  <a:moveTo>
                    <a:pt x="1883" y="2"/>
                  </a:moveTo>
                  <a:cubicBezTo>
                    <a:pt x="1867" y="2"/>
                    <a:pt x="1867" y="2"/>
                    <a:pt x="1867" y="2"/>
                  </a:cubicBezTo>
                  <a:cubicBezTo>
                    <a:pt x="1867" y="45"/>
                    <a:pt x="1867" y="45"/>
                    <a:pt x="1867" y="45"/>
                  </a:cubicBezTo>
                  <a:cubicBezTo>
                    <a:pt x="1867" y="47"/>
                    <a:pt x="1867" y="49"/>
                    <a:pt x="1866" y="51"/>
                  </a:cubicBezTo>
                  <a:cubicBezTo>
                    <a:pt x="1865" y="53"/>
                    <a:pt x="1864" y="55"/>
                    <a:pt x="1863" y="56"/>
                  </a:cubicBezTo>
                  <a:cubicBezTo>
                    <a:pt x="1862" y="57"/>
                    <a:pt x="1860" y="58"/>
                    <a:pt x="1859" y="59"/>
                  </a:cubicBezTo>
                  <a:cubicBezTo>
                    <a:pt x="1857" y="60"/>
                    <a:pt x="1855" y="60"/>
                    <a:pt x="1853" y="60"/>
                  </a:cubicBezTo>
                  <a:cubicBezTo>
                    <a:pt x="1851" y="60"/>
                    <a:pt x="1849" y="60"/>
                    <a:pt x="1847" y="59"/>
                  </a:cubicBezTo>
                  <a:cubicBezTo>
                    <a:pt x="1845" y="58"/>
                    <a:pt x="1844" y="57"/>
                    <a:pt x="1843" y="56"/>
                  </a:cubicBezTo>
                  <a:cubicBezTo>
                    <a:pt x="1841" y="55"/>
                    <a:pt x="1840" y="53"/>
                    <a:pt x="1840" y="51"/>
                  </a:cubicBezTo>
                  <a:cubicBezTo>
                    <a:pt x="1839" y="49"/>
                    <a:pt x="1839" y="47"/>
                    <a:pt x="1839" y="45"/>
                  </a:cubicBezTo>
                  <a:cubicBezTo>
                    <a:pt x="1839" y="2"/>
                    <a:pt x="1839" y="2"/>
                    <a:pt x="1839" y="2"/>
                  </a:cubicBezTo>
                  <a:cubicBezTo>
                    <a:pt x="1823" y="2"/>
                    <a:pt x="1823" y="2"/>
                    <a:pt x="1823" y="2"/>
                  </a:cubicBezTo>
                  <a:cubicBezTo>
                    <a:pt x="1823" y="46"/>
                    <a:pt x="1823" y="46"/>
                    <a:pt x="1823" y="46"/>
                  </a:cubicBezTo>
                  <a:cubicBezTo>
                    <a:pt x="1823" y="50"/>
                    <a:pt x="1824" y="54"/>
                    <a:pt x="1825" y="57"/>
                  </a:cubicBezTo>
                  <a:cubicBezTo>
                    <a:pt x="1826" y="61"/>
                    <a:pt x="1828" y="64"/>
                    <a:pt x="1831" y="66"/>
                  </a:cubicBezTo>
                  <a:cubicBezTo>
                    <a:pt x="1833" y="69"/>
                    <a:pt x="1836" y="71"/>
                    <a:pt x="1840" y="73"/>
                  </a:cubicBezTo>
                  <a:cubicBezTo>
                    <a:pt x="1844" y="74"/>
                    <a:pt x="1848" y="75"/>
                    <a:pt x="1853" y="75"/>
                  </a:cubicBezTo>
                  <a:cubicBezTo>
                    <a:pt x="1858" y="75"/>
                    <a:pt x="1862" y="74"/>
                    <a:pt x="1866" y="73"/>
                  </a:cubicBezTo>
                  <a:cubicBezTo>
                    <a:pt x="1870" y="71"/>
                    <a:pt x="1873" y="69"/>
                    <a:pt x="1875" y="66"/>
                  </a:cubicBezTo>
                  <a:cubicBezTo>
                    <a:pt x="1878" y="64"/>
                    <a:pt x="1880" y="61"/>
                    <a:pt x="1881" y="57"/>
                  </a:cubicBezTo>
                  <a:cubicBezTo>
                    <a:pt x="1882" y="54"/>
                    <a:pt x="1883" y="50"/>
                    <a:pt x="1883" y="46"/>
                  </a:cubicBezTo>
                  <a:lnTo>
                    <a:pt x="1883" y="2"/>
                  </a:lnTo>
                  <a:close/>
                  <a:moveTo>
                    <a:pt x="1752" y="15"/>
                  </a:moveTo>
                  <a:cubicBezTo>
                    <a:pt x="1762" y="15"/>
                    <a:pt x="1762" y="15"/>
                    <a:pt x="1762" y="15"/>
                  </a:cubicBezTo>
                  <a:cubicBezTo>
                    <a:pt x="1764" y="15"/>
                    <a:pt x="1765" y="15"/>
                    <a:pt x="1767" y="16"/>
                  </a:cubicBezTo>
                  <a:cubicBezTo>
                    <a:pt x="1768" y="16"/>
                    <a:pt x="1769" y="16"/>
                    <a:pt x="1770" y="17"/>
                  </a:cubicBezTo>
                  <a:cubicBezTo>
                    <a:pt x="1772" y="17"/>
                    <a:pt x="1773" y="18"/>
                    <a:pt x="1773" y="19"/>
                  </a:cubicBezTo>
                  <a:cubicBezTo>
                    <a:pt x="1774" y="20"/>
                    <a:pt x="1774" y="22"/>
                    <a:pt x="1774" y="23"/>
                  </a:cubicBezTo>
                  <a:cubicBezTo>
                    <a:pt x="1774" y="25"/>
                    <a:pt x="1774" y="27"/>
                    <a:pt x="1773" y="28"/>
                  </a:cubicBezTo>
                  <a:cubicBezTo>
                    <a:pt x="1772" y="29"/>
                    <a:pt x="1771" y="30"/>
                    <a:pt x="1770" y="30"/>
                  </a:cubicBezTo>
                  <a:cubicBezTo>
                    <a:pt x="1769" y="31"/>
                    <a:pt x="1767" y="31"/>
                    <a:pt x="1766" y="31"/>
                  </a:cubicBezTo>
                  <a:cubicBezTo>
                    <a:pt x="1764" y="31"/>
                    <a:pt x="1763" y="31"/>
                    <a:pt x="1761" y="31"/>
                  </a:cubicBezTo>
                  <a:cubicBezTo>
                    <a:pt x="1752" y="31"/>
                    <a:pt x="1752" y="31"/>
                    <a:pt x="1752" y="31"/>
                  </a:cubicBezTo>
                  <a:lnTo>
                    <a:pt x="1752" y="15"/>
                  </a:lnTo>
                  <a:close/>
                  <a:moveTo>
                    <a:pt x="1736" y="73"/>
                  </a:moveTo>
                  <a:cubicBezTo>
                    <a:pt x="1752" y="73"/>
                    <a:pt x="1752" y="73"/>
                    <a:pt x="1752" y="73"/>
                  </a:cubicBezTo>
                  <a:cubicBezTo>
                    <a:pt x="1752" y="45"/>
                    <a:pt x="1752" y="45"/>
                    <a:pt x="1752" y="45"/>
                  </a:cubicBezTo>
                  <a:cubicBezTo>
                    <a:pt x="1760" y="45"/>
                    <a:pt x="1760" y="45"/>
                    <a:pt x="1760" y="45"/>
                  </a:cubicBezTo>
                  <a:cubicBezTo>
                    <a:pt x="1775" y="73"/>
                    <a:pt x="1775" y="73"/>
                    <a:pt x="1775" y="73"/>
                  </a:cubicBezTo>
                  <a:cubicBezTo>
                    <a:pt x="1793" y="73"/>
                    <a:pt x="1793" y="73"/>
                    <a:pt x="1793" y="73"/>
                  </a:cubicBezTo>
                  <a:cubicBezTo>
                    <a:pt x="1775" y="43"/>
                    <a:pt x="1775" y="43"/>
                    <a:pt x="1775" y="43"/>
                  </a:cubicBezTo>
                  <a:cubicBezTo>
                    <a:pt x="1780" y="42"/>
                    <a:pt x="1784" y="40"/>
                    <a:pt x="1787" y="36"/>
                  </a:cubicBezTo>
                  <a:cubicBezTo>
                    <a:pt x="1789" y="33"/>
                    <a:pt x="1791" y="29"/>
                    <a:pt x="1791" y="24"/>
                  </a:cubicBezTo>
                  <a:cubicBezTo>
                    <a:pt x="1791" y="19"/>
                    <a:pt x="1790" y="16"/>
                    <a:pt x="1788" y="13"/>
                  </a:cubicBezTo>
                  <a:cubicBezTo>
                    <a:pt x="1787" y="10"/>
                    <a:pt x="1785" y="8"/>
                    <a:pt x="1783" y="7"/>
                  </a:cubicBezTo>
                  <a:cubicBezTo>
                    <a:pt x="1780" y="5"/>
                    <a:pt x="1777" y="4"/>
                    <a:pt x="1774" y="3"/>
                  </a:cubicBezTo>
                  <a:cubicBezTo>
                    <a:pt x="1771" y="2"/>
                    <a:pt x="1767" y="2"/>
                    <a:pt x="1764" y="2"/>
                  </a:cubicBezTo>
                  <a:cubicBezTo>
                    <a:pt x="1736" y="2"/>
                    <a:pt x="1736" y="2"/>
                    <a:pt x="1736" y="2"/>
                  </a:cubicBezTo>
                  <a:lnTo>
                    <a:pt x="1736" y="73"/>
                  </a:lnTo>
                  <a:close/>
                  <a:moveTo>
                    <a:pt x="1671" y="73"/>
                  </a:moveTo>
                  <a:cubicBezTo>
                    <a:pt x="1687" y="73"/>
                    <a:pt x="1687" y="73"/>
                    <a:pt x="1687" y="73"/>
                  </a:cubicBezTo>
                  <a:cubicBezTo>
                    <a:pt x="1687" y="16"/>
                    <a:pt x="1687" y="16"/>
                    <a:pt x="1687" y="16"/>
                  </a:cubicBezTo>
                  <a:cubicBezTo>
                    <a:pt x="1707" y="16"/>
                    <a:pt x="1707" y="16"/>
                    <a:pt x="1707" y="16"/>
                  </a:cubicBezTo>
                  <a:cubicBezTo>
                    <a:pt x="1707" y="2"/>
                    <a:pt x="1707" y="2"/>
                    <a:pt x="1707" y="2"/>
                  </a:cubicBezTo>
                  <a:cubicBezTo>
                    <a:pt x="1651" y="2"/>
                    <a:pt x="1651" y="2"/>
                    <a:pt x="1651" y="2"/>
                  </a:cubicBezTo>
                  <a:cubicBezTo>
                    <a:pt x="1651" y="16"/>
                    <a:pt x="1651" y="16"/>
                    <a:pt x="1651" y="16"/>
                  </a:cubicBezTo>
                  <a:cubicBezTo>
                    <a:pt x="1671" y="16"/>
                    <a:pt x="1671" y="16"/>
                    <a:pt x="1671" y="16"/>
                  </a:cubicBezTo>
                  <a:lnTo>
                    <a:pt x="1671" y="73"/>
                  </a:lnTo>
                  <a:close/>
                  <a:moveTo>
                    <a:pt x="1554" y="73"/>
                  </a:moveTo>
                  <a:cubicBezTo>
                    <a:pt x="1569" y="73"/>
                    <a:pt x="1569" y="73"/>
                    <a:pt x="1569" y="73"/>
                  </a:cubicBezTo>
                  <a:cubicBezTo>
                    <a:pt x="1569" y="22"/>
                    <a:pt x="1569" y="22"/>
                    <a:pt x="1569" y="22"/>
                  </a:cubicBezTo>
                  <a:cubicBezTo>
                    <a:pt x="1570" y="22"/>
                    <a:pt x="1570" y="22"/>
                    <a:pt x="1570" y="22"/>
                  </a:cubicBezTo>
                  <a:cubicBezTo>
                    <a:pt x="1601" y="73"/>
                    <a:pt x="1601" y="73"/>
                    <a:pt x="1601" y="73"/>
                  </a:cubicBezTo>
                  <a:cubicBezTo>
                    <a:pt x="1621" y="73"/>
                    <a:pt x="1621" y="73"/>
                    <a:pt x="1621" y="73"/>
                  </a:cubicBezTo>
                  <a:cubicBezTo>
                    <a:pt x="1621" y="2"/>
                    <a:pt x="1621" y="2"/>
                    <a:pt x="1621" y="2"/>
                  </a:cubicBezTo>
                  <a:cubicBezTo>
                    <a:pt x="1605" y="2"/>
                    <a:pt x="1605" y="2"/>
                    <a:pt x="1605" y="2"/>
                  </a:cubicBezTo>
                  <a:cubicBezTo>
                    <a:pt x="1605" y="51"/>
                    <a:pt x="1605" y="51"/>
                    <a:pt x="1605" y="51"/>
                  </a:cubicBezTo>
                  <a:cubicBezTo>
                    <a:pt x="1605" y="51"/>
                    <a:pt x="1605" y="51"/>
                    <a:pt x="1605" y="51"/>
                  </a:cubicBezTo>
                  <a:cubicBezTo>
                    <a:pt x="1575" y="2"/>
                    <a:pt x="1575" y="2"/>
                    <a:pt x="1575" y="2"/>
                  </a:cubicBezTo>
                  <a:cubicBezTo>
                    <a:pt x="1554" y="2"/>
                    <a:pt x="1554" y="2"/>
                    <a:pt x="1554" y="2"/>
                  </a:cubicBezTo>
                  <a:lnTo>
                    <a:pt x="1554" y="73"/>
                  </a:lnTo>
                  <a:close/>
                  <a:moveTo>
                    <a:pt x="1469" y="73"/>
                  </a:moveTo>
                  <a:cubicBezTo>
                    <a:pt x="1519" y="73"/>
                    <a:pt x="1519" y="73"/>
                    <a:pt x="1519" y="73"/>
                  </a:cubicBezTo>
                  <a:cubicBezTo>
                    <a:pt x="1519" y="59"/>
                    <a:pt x="1519" y="59"/>
                    <a:pt x="1519" y="59"/>
                  </a:cubicBezTo>
                  <a:cubicBezTo>
                    <a:pt x="1485" y="59"/>
                    <a:pt x="1485" y="59"/>
                    <a:pt x="1485" y="59"/>
                  </a:cubicBezTo>
                  <a:cubicBezTo>
                    <a:pt x="1485" y="44"/>
                    <a:pt x="1485" y="44"/>
                    <a:pt x="1485" y="44"/>
                  </a:cubicBezTo>
                  <a:cubicBezTo>
                    <a:pt x="1516" y="44"/>
                    <a:pt x="1516" y="44"/>
                    <a:pt x="1516" y="44"/>
                  </a:cubicBezTo>
                  <a:cubicBezTo>
                    <a:pt x="1516" y="30"/>
                    <a:pt x="1516" y="30"/>
                    <a:pt x="1516" y="30"/>
                  </a:cubicBezTo>
                  <a:cubicBezTo>
                    <a:pt x="1485" y="30"/>
                    <a:pt x="1485" y="30"/>
                    <a:pt x="1485" y="30"/>
                  </a:cubicBezTo>
                  <a:cubicBezTo>
                    <a:pt x="1485" y="16"/>
                    <a:pt x="1485" y="16"/>
                    <a:pt x="1485" y="16"/>
                  </a:cubicBezTo>
                  <a:cubicBezTo>
                    <a:pt x="1517" y="16"/>
                    <a:pt x="1517" y="16"/>
                    <a:pt x="1517" y="16"/>
                  </a:cubicBezTo>
                  <a:cubicBezTo>
                    <a:pt x="1517" y="2"/>
                    <a:pt x="1517" y="2"/>
                    <a:pt x="1517" y="2"/>
                  </a:cubicBezTo>
                  <a:cubicBezTo>
                    <a:pt x="1469" y="2"/>
                    <a:pt x="1469" y="2"/>
                    <a:pt x="1469" y="2"/>
                  </a:cubicBezTo>
                  <a:lnTo>
                    <a:pt x="1469" y="73"/>
                  </a:lnTo>
                  <a:close/>
                  <a:moveTo>
                    <a:pt x="1437" y="11"/>
                  </a:moveTo>
                  <a:cubicBezTo>
                    <a:pt x="1436" y="9"/>
                    <a:pt x="1434" y="7"/>
                    <a:pt x="1432" y="6"/>
                  </a:cubicBezTo>
                  <a:cubicBezTo>
                    <a:pt x="1430" y="4"/>
                    <a:pt x="1428" y="3"/>
                    <a:pt x="1426" y="3"/>
                  </a:cubicBezTo>
                  <a:cubicBezTo>
                    <a:pt x="1424" y="2"/>
                    <a:pt x="1422" y="1"/>
                    <a:pt x="1420" y="1"/>
                  </a:cubicBezTo>
                  <a:cubicBezTo>
                    <a:pt x="1417" y="0"/>
                    <a:pt x="1415" y="0"/>
                    <a:pt x="1413" y="0"/>
                  </a:cubicBezTo>
                  <a:cubicBezTo>
                    <a:pt x="1408" y="0"/>
                    <a:pt x="1403" y="1"/>
                    <a:pt x="1398" y="3"/>
                  </a:cubicBezTo>
                  <a:cubicBezTo>
                    <a:pt x="1393" y="5"/>
                    <a:pt x="1389" y="7"/>
                    <a:pt x="1386" y="10"/>
                  </a:cubicBezTo>
                  <a:cubicBezTo>
                    <a:pt x="1382" y="14"/>
                    <a:pt x="1380" y="17"/>
                    <a:pt x="1378" y="22"/>
                  </a:cubicBezTo>
                  <a:cubicBezTo>
                    <a:pt x="1376" y="27"/>
                    <a:pt x="1375" y="32"/>
                    <a:pt x="1375" y="37"/>
                  </a:cubicBezTo>
                  <a:cubicBezTo>
                    <a:pt x="1375" y="43"/>
                    <a:pt x="1376" y="48"/>
                    <a:pt x="1378" y="53"/>
                  </a:cubicBezTo>
                  <a:cubicBezTo>
                    <a:pt x="1380" y="58"/>
                    <a:pt x="1382" y="61"/>
                    <a:pt x="1386" y="65"/>
                  </a:cubicBezTo>
                  <a:cubicBezTo>
                    <a:pt x="1389" y="68"/>
                    <a:pt x="1393" y="70"/>
                    <a:pt x="1398" y="72"/>
                  </a:cubicBezTo>
                  <a:cubicBezTo>
                    <a:pt x="1403" y="74"/>
                    <a:pt x="1408" y="75"/>
                    <a:pt x="1413" y="75"/>
                  </a:cubicBezTo>
                  <a:cubicBezTo>
                    <a:pt x="1418" y="75"/>
                    <a:pt x="1423" y="74"/>
                    <a:pt x="1428" y="72"/>
                  </a:cubicBezTo>
                  <a:cubicBezTo>
                    <a:pt x="1432" y="70"/>
                    <a:pt x="1436" y="67"/>
                    <a:pt x="1439" y="62"/>
                  </a:cubicBezTo>
                  <a:cubicBezTo>
                    <a:pt x="1426" y="53"/>
                    <a:pt x="1426" y="53"/>
                    <a:pt x="1426" y="53"/>
                  </a:cubicBezTo>
                  <a:cubicBezTo>
                    <a:pt x="1424" y="55"/>
                    <a:pt x="1422" y="57"/>
                    <a:pt x="1420" y="58"/>
                  </a:cubicBezTo>
                  <a:cubicBezTo>
                    <a:pt x="1417" y="60"/>
                    <a:pt x="1414" y="60"/>
                    <a:pt x="1411" y="60"/>
                  </a:cubicBezTo>
                  <a:cubicBezTo>
                    <a:pt x="1408" y="60"/>
                    <a:pt x="1406" y="60"/>
                    <a:pt x="1403" y="59"/>
                  </a:cubicBezTo>
                  <a:cubicBezTo>
                    <a:pt x="1401" y="57"/>
                    <a:pt x="1399" y="56"/>
                    <a:pt x="1397" y="54"/>
                  </a:cubicBezTo>
                  <a:cubicBezTo>
                    <a:pt x="1395" y="52"/>
                    <a:pt x="1394" y="49"/>
                    <a:pt x="1393" y="47"/>
                  </a:cubicBezTo>
                  <a:cubicBezTo>
                    <a:pt x="1392" y="44"/>
                    <a:pt x="1391" y="41"/>
                    <a:pt x="1391" y="37"/>
                  </a:cubicBezTo>
                  <a:cubicBezTo>
                    <a:pt x="1391" y="34"/>
                    <a:pt x="1392" y="31"/>
                    <a:pt x="1393" y="28"/>
                  </a:cubicBezTo>
                  <a:cubicBezTo>
                    <a:pt x="1394" y="26"/>
                    <a:pt x="1395" y="23"/>
                    <a:pt x="1397" y="21"/>
                  </a:cubicBezTo>
                  <a:cubicBezTo>
                    <a:pt x="1399" y="19"/>
                    <a:pt x="1401" y="17"/>
                    <a:pt x="1404" y="16"/>
                  </a:cubicBezTo>
                  <a:cubicBezTo>
                    <a:pt x="1406" y="15"/>
                    <a:pt x="1409" y="15"/>
                    <a:pt x="1412" y="15"/>
                  </a:cubicBezTo>
                  <a:cubicBezTo>
                    <a:pt x="1415" y="15"/>
                    <a:pt x="1417" y="15"/>
                    <a:pt x="1420" y="16"/>
                  </a:cubicBezTo>
                  <a:cubicBezTo>
                    <a:pt x="1422" y="17"/>
                    <a:pt x="1424" y="19"/>
                    <a:pt x="1425" y="20"/>
                  </a:cubicBezTo>
                  <a:lnTo>
                    <a:pt x="1437" y="11"/>
                  </a:lnTo>
                  <a:close/>
                  <a:moveTo>
                    <a:pt x="1308" y="15"/>
                  </a:moveTo>
                  <a:cubicBezTo>
                    <a:pt x="1318" y="15"/>
                    <a:pt x="1318" y="15"/>
                    <a:pt x="1318" y="15"/>
                  </a:cubicBezTo>
                  <a:cubicBezTo>
                    <a:pt x="1319" y="15"/>
                    <a:pt x="1321" y="15"/>
                    <a:pt x="1322" y="16"/>
                  </a:cubicBezTo>
                  <a:cubicBezTo>
                    <a:pt x="1324" y="16"/>
                    <a:pt x="1325" y="16"/>
                    <a:pt x="1326" y="17"/>
                  </a:cubicBezTo>
                  <a:cubicBezTo>
                    <a:pt x="1327" y="17"/>
                    <a:pt x="1328" y="18"/>
                    <a:pt x="1329" y="19"/>
                  </a:cubicBezTo>
                  <a:cubicBezTo>
                    <a:pt x="1330" y="20"/>
                    <a:pt x="1330" y="22"/>
                    <a:pt x="1330" y="23"/>
                  </a:cubicBezTo>
                  <a:cubicBezTo>
                    <a:pt x="1330" y="25"/>
                    <a:pt x="1330" y="27"/>
                    <a:pt x="1329" y="28"/>
                  </a:cubicBezTo>
                  <a:cubicBezTo>
                    <a:pt x="1328" y="29"/>
                    <a:pt x="1327" y="30"/>
                    <a:pt x="1326" y="30"/>
                  </a:cubicBezTo>
                  <a:cubicBezTo>
                    <a:pt x="1324" y="31"/>
                    <a:pt x="1323" y="31"/>
                    <a:pt x="1321" y="31"/>
                  </a:cubicBezTo>
                  <a:cubicBezTo>
                    <a:pt x="1320" y="31"/>
                    <a:pt x="1318" y="31"/>
                    <a:pt x="1317" y="31"/>
                  </a:cubicBezTo>
                  <a:cubicBezTo>
                    <a:pt x="1308" y="31"/>
                    <a:pt x="1308" y="31"/>
                    <a:pt x="1308" y="31"/>
                  </a:cubicBezTo>
                  <a:lnTo>
                    <a:pt x="1308" y="15"/>
                  </a:lnTo>
                  <a:close/>
                  <a:moveTo>
                    <a:pt x="1292" y="73"/>
                  </a:moveTo>
                  <a:cubicBezTo>
                    <a:pt x="1308" y="73"/>
                    <a:pt x="1308" y="73"/>
                    <a:pt x="1308" y="73"/>
                  </a:cubicBezTo>
                  <a:cubicBezTo>
                    <a:pt x="1308" y="45"/>
                    <a:pt x="1308" y="45"/>
                    <a:pt x="1308" y="45"/>
                  </a:cubicBezTo>
                  <a:cubicBezTo>
                    <a:pt x="1316" y="45"/>
                    <a:pt x="1316" y="45"/>
                    <a:pt x="1316" y="45"/>
                  </a:cubicBezTo>
                  <a:cubicBezTo>
                    <a:pt x="1330" y="73"/>
                    <a:pt x="1330" y="73"/>
                    <a:pt x="1330" y="73"/>
                  </a:cubicBezTo>
                  <a:cubicBezTo>
                    <a:pt x="1349" y="73"/>
                    <a:pt x="1349" y="73"/>
                    <a:pt x="1349" y="73"/>
                  </a:cubicBezTo>
                  <a:cubicBezTo>
                    <a:pt x="1331" y="43"/>
                    <a:pt x="1331" y="43"/>
                    <a:pt x="1331" y="43"/>
                  </a:cubicBezTo>
                  <a:cubicBezTo>
                    <a:pt x="1336" y="42"/>
                    <a:pt x="1340" y="40"/>
                    <a:pt x="1342" y="36"/>
                  </a:cubicBezTo>
                  <a:cubicBezTo>
                    <a:pt x="1345" y="33"/>
                    <a:pt x="1346" y="29"/>
                    <a:pt x="1346" y="24"/>
                  </a:cubicBezTo>
                  <a:cubicBezTo>
                    <a:pt x="1346" y="19"/>
                    <a:pt x="1346" y="16"/>
                    <a:pt x="1344" y="13"/>
                  </a:cubicBezTo>
                  <a:cubicBezTo>
                    <a:pt x="1343" y="10"/>
                    <a:pt x="1341" y="8"/>
                    <a:pt x="1338" y="7"/>
                  </a:cubicBezTo>
                  <a:cubicBezTo>
                    <a:pt x="1336" y="5"/>
                    <a:pt x="1333" y="4"/>
                    <a:pt x="1330" y="3"/>
                  </a:cubicBezTo>
                  <a:cubicBezTo>
                    <a:pt x="1327" y="2"/>
                    <a:pt x="1323" y="2"/>
                    <a:pt x="1320" y="2"/>
                  </a:cubicBezTo>
                  <a:cubicBezTo>
                    <a:pt x="1292" y="2"/>
                    <a:pt x="1292" y="2"/>
                    <a:pt x="1292" y="2"/>
                  </a:cubicBezTo>
                  <a:lnTo>
                    <a:pt x="1292" y="73"/>
                  </a:lnTo>
                  <a:close/>
                  <a:moveTo>
                    <a:pt x="1207" y="73"/>
                  </a:moveTo>
                  <a:cubicBezTo>
                    <a:pt x="1257" y="73"/>
                    <a:pt x="1257" y="73"/>
                    <a:pt x="1257" y="73"/>
                  </a:cubicBezTo>
                  <a:cubicBezTo>
                    <a:pt x="1257" y="59"/>
                    <a:pt x="1257" y="59"/>
                    <a:pt x="1257" y="59"/>
                  </a:cubicBezTo>
                  <a:cubicBezTo>
                    <a:pt x="1223" y="59"/>
                    <a:pt x="1223" y="59"/>
                    <a:pt x="1223" y="59"/>
                  </a:cubicBezTo>
                  <a:cubicBezTo>
                    <a:pt x="1223" y="44"/>
                    <a:pt x="1223" y="44"/>
                    <a:pt x="1223" y="44"/>
                  </a:cubicBezTo>
                  <a:cubicBezTo>
                    <a:pt x="1254" y="44"/>
                    <a:pt x="1254" y="44"/>
                    <a:pt x="1254" y="44"/>
                  </a:cubicBezTo>
                  <a:cubicBezTo>
                    <a:pt x="1254" y="30"/>
                    <a:pt x="1254" y="30"/>
                    <a:pt x="1254" y="30"/>
                  </a:cubicBezTo>
                  <a:cubicBezTo>
                    <a:pt x="1223" y="30"/>
                    <a:pt x="1223" y="30"/>
                    <a:pt x="1223" y="30"/>
                  </a:cubicBezTo>
                  <a:cubicBezTo>
                    <a:pt x="1223" y="16"/>
                    <a:pt x="1223" y="16"/>
                    <a:pt x="1223" y="16"/>
                  </a:cubicBezTo>
                  <a:cubicBezTo>
                    <a:pt x="1256" y="16"/>
                    <a:pt x="1256" y="16"/>
                    <a:pt x="1256" y="16"/>
                  </a:cubicBezTo>
                  <a:cubicBezTo>
                    <a:pt x="1256" y="2"/>
                    <a:pt x="1256" y="2"/>
                    <a:pt x="1256" y="2"/>
                  </a:cubicBezTo>
                  <a:cubicBezTo>
                    <a:pt x="1207" y="2"/>
                    <a:pt x="1207" y="2"/>
                    <a:pt x="1207" y="2"/>
                  </a:cubicBezTo>
                  <a:lnTo>
                    <a:pt x="1207" y="73"/>
                  </a:lnTo>
                  <a:close/>
                  <a:moveTo>
                    <a:pt x="1142" y="73"/>
                  </a:moveTo>
                  <a:cubicBezTo>
                    <a:pt x="1157" y="73"/>
                    <a:pt x="1157" y="73"/>
                    <a:pt x="1157" y="73"/>
                  </a:cubicBezTo>
                  <a:cubicBezTo>
                    <a:pt x="1157" y="16"/>
                    <a:pt x="1157" y="16"/>
                    <a:pt x="1157" y="16"/>
                  </a:cubicBezTo>
                  <a:cubicBezTo>
                    <a:pt x="1178" y="16"/>
                    <a:pt x="1178" y="16"/>
                    <a:pt x="1178" y="16"/>
                  </a:cubicBezTo>
                  <a:cubicBezTo>
                    <a:pt x="1178" y="2"/>
                    <a:pt x="1178" y="2"/>
                    <a:pt x="1178" y="2"/>
                  </a:cubicBezTo>
                  <a:cubicBezTo>
                    <a:pt x="1121" y="2"/>
                    <a:pt x="1121" y="2"/>
                    <a:pt x="1121" y="2"/>
                  </a:cubicBezTo>
                  <a:cubicBezTo>
                    <a:pt x="1121" y="16"/>
                    <a:pt x="1121" y="16"/>
                    <a:pt x="1121" y="16"/>
                  </a:cubicBezTo>
                  <a:cubicBezTo>
                    <a:pt x="1142" y="16"/>
                    <a:pt x="1142" y="16"/>
                    <a:pt x="1142" y="16"/>
                  </a:cubicBezTo>
                  <a:lnTo>
                    <a:pt x="1142" y="73"/>
                  </a:lnTo>
                  <a:close/>
                  <a:moveTo>
                    <a:pt x="1093" y="8"/>
                  </a:moveTo>
                  <a:cubicBezTo>
                    <a:pt x="1090" y="5"/>
                    <a:pt x="1087" y="3"/>
                    <a:pt x="1083" y="2"/>
                  </a:cubicBezTo>
                  <a:cubicBezTo>
                    <a:pt x="1079" y="1"/>
                    <a:pt x="1075" y="0"/>
                    <a:pt x="1071" y="0"/>
                  </a:cubicBezTo>
                  <a:cubicBezTo>
                    <a:pt x="1068" y="0"/>
                    <a:pt x="1065" y="1"/>
                    <a:pt x="1061" y="2"/>
                  </a:cubicBezTo>
                  <a:cubicBezTo>
                    <a:pt x="1058" y="3"/>
                    <a:pt x="1055" y="4"/>
                    <a:pt x="1053" y="6"/>
                  </a:cubicBezTo>
                  <a:cubicBezTo>
                    <a:pt x="1050" y="8"/>
                    <a:pt x="1048" y="10"/>
                    <a:pt x="1047" y="13"/>
                  </a:cubicBezTo>
                  <a:cubicBezTo>
                    <a:pt x="1045" y="16"/>
                    <a:pt x="1044" y="19"/>
                    <a:pt x="1044" y="23"/>
                  </a:cubicBezTo>
                  <a:cubicBezTo>
                    <a:pt x="1044" y="27"/>
                    <a:pt x="1045" y="30"/>
                    <a:pt x="1047" y="33"/>
                  </a:cubicBezTo>
                  <a:cubicBezTo>
                    <a:pt x="1048" y="35"/>
                    <a:pt x="1051" y="37"/>
                    <a:pt x="1053" y="39"/>
                  </a:cubicBezTo>
                  <a:cubicBezTo>
                    <a:pt x="1055" y="40"/>
                    <a:pt x="1058" y="41"/>
                    <a:pt x="1061" y="42"/>
                  </a:cubicBezTo>
                  <a:cubicBezTo>
                    <a:pt x="1064" y="43"/>
                    <a:pt x="1067" y="44"/>
                    <a:pt x="1069" y="45"/>
                  </a:cubicBezTo>
                  <a:cubicBezTo>
                    <a:pt x="1071" y="46"/>
                    <a:pt x="1074" y="47"/>
                    <a:pt x="1075" y="48"/>
                  </a:cubicBezTo>
                  <a:cubicBezTo>
                    <a:pt x="1077" y="49"/>
                    <a:pt x="1078" y="51"/>
                    <a:pt x="1078" y="53"/>
                  </a:cubicBezTo>
                  <a:cubicBezTo>
                    <a:pt x="1078" y="54"/>
                    <a:pt x="1077" y="55"/>
                    <a:pt x="1077" y="56"/>
                  </a:cubicBezTo>
                  <a:cubicBezTo>
                    <a:pt x="1076" y="57"/>
                    <a:pt x="1075" y="58"/>
                    <a:pt x="1074" y="59"/>
                  </a:cubicBezTo>
                  <a:cubicBezTo>
                    <a:pt x="1073" y="59"/>
                    <a:pt x="1072" y="60"/>
                    <a:pt x="1071" y="60"/>
                  </a:cubicBezTo>
                  <a:cubicBezTo>
                    <a:pt x="1069" y="60"/>
                    <a:pt x="1068" y="60"/>
                    <a:pt x="1067" y="60"/>
                  </a:cubicBezTo>
                  <a:cubicBezTo>
                    <a:pt x="1064" y="60"/>
                    <a:pt x="1062" y="60"/>
                    <a:pt x="1059" y="59"/>
                  </a:cubicBezTo>
                  <a:cubicBezTo>
                    <a:pt x="1057" y="57"/>
                    <a:pt x="1055" y="56"/>
                    <a:pt x="1053" y="54"/>
                  </a:cubicBezTo>
                  <a:cubicBezTo>
                    <a:pt x="1042" y="66"/>
                    <a:pt x="1042" y="66"/>
                    <a:pt x="1042" y="66"/>
                  </a:cubicBezTo>
                  <a:cubicBezTo>
                    <a:pt x="1045" y="69"/>
                    <a:pt x="1049" y="71"/>
                    <a:pt x="1053" y="73"/>
                  </a:cubicBezTo>
                  <a:cubicBezTo>
                    <a:pt x="1057" y="74"/>
                    <a:pt x="1061" y="75"/>
                    <a:pt x="1066" y="75"/>
                  </a:cubicBezTo>
                  <a:cubicBezTo>
                    <a:pt x="1070" y="75"/>
                    <a:pt x="1073" y="74"/>
                    <a:pt x="1076" y="73"/>
                  </a:cubicBezTo>
                  <a:cubicBezTo>
                    <a:pt x="1080" y="72"/>
                    <a:pt x="1083" y="71"/>
                    <a:pt x="1085" y="69"/>
                  </a:cubicBezTo>
                  <a:cubicBezTo>
                    <a:pt x="1088" y="67"/>
                    <a:pt x="1090" y="65"/>
                    <a:pt x="1091" y="62"/>
                  </a:cubicBezTo>
                  <a:cubicBezTo>
                    <a:pt x="1093" y="59"/>
                    <a:pt x="1093" y="55"/>
                    <a:pt x="1093" y="51"/>
                  </a:cubicBezTo>
                  <a:cubicBezTo>
                    <a:pt x="1093" y="47"/>
                    <a:pt x="1092" y="44"/>
                    <a:pt x="1091" y="41"/>
                  </a:cubicBezTo>
                  <a:cubicBezTo>
                    <a:pt x="1089" y="39"/>
                    <a:pt x="1087" y="37"/>
                    <a:pt x="1085" y="36"/>
                  </a:cubicBezTo>
                  <a:cubicBezTo>
                    <a:pt x="1082" y="34"/>
                    <a:pt x="1080" y="33"/>
                    <a:pt x="1077" y="32"/>
                  </a:cubicBezTo>
                  <a:cubicBezTo>
                    <a:pt x="1074" y="31"/>
                    <a:pt x="1072" y="31"/>
                    <a:pt x="1069" y="30"/>
                  </a:cubicBezTo>
                  <a:cubicBezTo>
                    <a:pt x="1067" y="29"/>
                    <a:pt x="1065" y="28"/>
                    <a:pt x="1063" y="27"/>
                  </a:cubicBezTo>
                  <a:cubicBezTo>
                    <a:pt x="1061" y="26"/>
                    <a:pt x="1061" y="24"/>
                    <a:pt x="1061" y="22"/>
                  </a:cubicBezTo>
                  <a:cubicBezTo>
                    <a:pt x="1061" y="21"/>
                    <a:pt x="1061" y="19"/>
                    <a:pt x="1062" y="19"/>
                  </a:cubicBezTo>
                  <a:cubicBezTo>
                    <a:pt x="1062" y="18"/>
                    <a:pt x="1063" y="17"/>
                    <a:pt x="1064" y="16"/>
                  </a:cubicBezTo>
                  <a:cubicBezTo>
                    <a:pt x="1065" y="16"/>
                    <a:pt x="1066" y="15"/>
                    <a:pt x="1068" y="15"/>
                  </a:cubicBezTo>
                  <a:cubicBezTo>
                    <a:pt x="1069" y="15"/>
                    <a:pt x="1070" y="15"/>
                    <a:pt x="1071" y="15"/>
                  </a:cubicBezTo>
                  <a:cubicBezTo>
                    <a:pt x="1073" y="15"/>
                    <a:pt x="1075" y="15"/>
                    <a:pt x="1077" y="16"/>
                  </a:cubicBezTo>
                  <a:cubicBezTo>
                    <a:pt x="1079" y="17"/>
                    <a:pt x="1081" y="18"/>
                    <a:pt x="1082" y="19"/>
                  </a:cubicBezTo>
                  <a:lnTo>
                    <a:pt x="1093" y="8"/>
                  </a:lnTo>
                  <a:close/>
                  <a:moveTo>
                    <a:pt x="995" y="73"/>
                  </a:moveTo>
                  <a:cubicBezTo>
                    <a:pt x="1011" y="73"/>
                    <a:pt x="1011" y="73"/>
                    <a:pt x="1011" y="73"/>
                  </a:cubicBezTo>
                  <a:cubicBezTo>
                    <a:pt x="1011" y="2"/>
                    <a:pt x="1011" y="2"/>
                    <a:pt x="1011" y="2"/>
                  </a:cubicBezTo>
                  <a:cubicBezTo>
                    <a:pt x="995" y="2"/>
                    <a:pt x="995" y="2"/>
                    <a:pt x="995" y="2"/>
                  </a:cubicBezTo>
                  <a:lnTo>
                    <a:pt x="995" y="73"/>
                  </a:lnTo>
                  <a:close/>
                  <a:moveTo>
                    <a:pt x="959" y="31"/>
                  </a:moveTo>
                  <a:cubicBezTo>
                    <a:pt x="931" y="31"/>
                    <a:pt x="931" y="31"/>
                    <a:pt x="931" y="31"/>
                  </a:cubicBezTo>
                  <a:cubicBezTo>
                    <a:pt x="931" y="45"/>
                    <a:pt x="931" y="45"/>
                    <a:pt x="931" y="45"/>
                  </a:cubicBezTo>
                  <a:cubicBezTo>
                    <a:pt x="944" y="45"/>
                    <a:pt x="944" y="45"/>
                    <a:pt x="944" y="45"/>
                  </a:cubicBezTo>
                  <a:cubicBezTo>
                    <a:pt x="944" y="57"/>
                    <a:pt x="944" y="57"/>
                    <a:pt x="944" y="57"/>
                  </a:cubicBezTo>
                  <a:cubicBezTo>
                    <a:pt x="943" y="58"/>
                    <a:pt x="941" y="58"/>
                    <a:pt x="938" y="59"/>
                  </a:cubicBezTo>
                  <a:cubicBezTo>
                    <a:pt x="936" y="60"/>
                    <a:pt x="933" y="60"/>
                    <a:pt x="929" y="60"/>
                  </a:cubicBezTo>
                  <a:cubicBezTo>
                    <a:pt x="926" y="60"/>
                    <a:pt x="923" y="60"/>
                    <a:pt x="920" y="59"/>
                  </a:cubicBezTo>
                  <a:cubicBezTo>
                    <a:pt x="917" y="57"/>
                    <a:pt x="915" y="56"/>
                    <a:pt x="913" y="54"/>
                  </a:cubicBezTo>
                  <a:cubicBezTo>
                    <a:pt x="911" y="52"/>
                    <a:pt x="910" y="49"/>
                    <a:pt x="909" y="47"/>
                  </a:cubicBezTo>
                  <a:cubicBezTo>
                    <a:pt x="908" y="44"/>
                    <a:pt x="907" y="41"/>
                    <a:pt x="907" y="37"/>
                  </a:cubicBezTo>
                  <a:cubicBezTo>
                    <a:pt x="907" y="34"/>
                    <a:pt x="908" y="31"/>
                    <a:pt x="909" y="28"/>
                  </a:cubicBezTo>
                  <a:cubicBezTo>
                    <a:pt x="910" y="26"/>
                    <a:pt x="911" y="23"/>
                    <a:pt x="913" y="21"/>
                  </a:cubicBezTo>
                  <a:cubicBezTo>
                    <a:pt x="915" y="19"/>
                    <a:pt x="917" y="17"/>
                    <a:pt x="920" y="16"/>
                  </a:cubicBezTo>
                  <a:cubicBezTo>
                    <a:pt x="923" y="15"/>
                    <a:pt x="926" y="15"/>
                    <a:pt x="929" y="15"/>
                  </a:cubicBezTo>
                  <a:cubicBezTo>
                    <a:pt x="933" y="15"/>
                    <a:pt x="937" y="15"/>
                    <a:pt x="939" y="16"/>
                  </a:cubicBezTo>
                  <a:cubicBezTo>
                    <a:pt x="942" y="17"/>
                    <a:pt x="944" y="19"/>
                    <a:pt x="946" y="21"/>
                  </a:cubicBezTo>
                  <a:cubicBezTo>
                    <a:pt x="958" y="9"/>
                    <a:pt x="958" y="9"/>
                    <a:pt x="958" y="9"/>
                  </a:cubicBezTo>
                  <a:cubicBezTo>
                    <a:pt x="954" y="6"/>
                    <a:pt x="950" y="4"/>
                    <a:pt x="945" y="2"/>
                  </a:cubicBezTo>
                  <a:cubicBezTo>
                    <a:pt x="940" y="1"/>
                    <a:pt x="935" y="0"/>
                    <a:pt x="929" y="0"/>
                  </a:cubicBezTo>
                  <a:cubicBezTo>
                    <a:pt x="924" y="0"/>
                    <a:pt x="919" y="1"/>
                    <a:pt x="914" y="3"/>
                  </a:cubicBezTo>
                  <a:cubicBezTo>
                    <a:pt x="909" y="5"/>
                    <a:pt x="905" y="7"/>
                    <a:pt x="902" y="10"/>
                  </a:cubicBezTo>
                  <a:cubicBezTo>
                    <a:pt x="898" y="14"/>
                    <a:pt x="896" y="17"/>
                    <a:pt x="894" y="22"/>
                  </a:cubicBezTo>
                  <a:cubicBezTo>
                    <a:pt x="892" y="27"/>
                    <a:pt x="891" y="32"/>
                    <a:pt x="891" y="37"/>
                  </a:cubicBezTo>
                  <a:cubicBezTo>
                    <a:pt x="891" y="43"/>
                    <a:pt x="892" y="48"/>
                    <a:pt x="894" y="53"/>
                  </a:cubicBezTo>
                  <a:cubicBezTo>
                    <a:pt x="896" y="58"/>
                    <a:pt x="898" y="61"/>
                    <a:pt x="902" y="65"/>
                  </a:cubicBezTo>
                  <a:cubicBezTo>
                    <a:pt x="905" y="68"/>
                    <a:pt x="909" y="70"/>
                    <a:pt x="914" y="72"/>
                  </a:cubicBezTo>
                  <a:cubicBezTo>
                    <a:pt x="919" y="74"/>
                    <a:pt x="924" y="75"/>
                    <a:pt x="929" y="75"/>
                  </a:cubicBezTo>
                  <a:cubicBezTo>
                    <a:pt x="934" y="75"/>
                    <a:pt x="940" y="74"/>
                    <a:pt x="945" y="73"/>
                  </a:cubicBezTo>
                  <a:cubicBezTo>
                    <a:pt x="950" y="72"/>
                    <a:pt x="954" y="70"/>
                    <a:pt x="959" y="68"/>
                  </a:cubicBezTo>
                  <a:lnTo>
                    <a:pt x="959" y="31"/>
                  </a:lnTo>
                  <a:close/>
                  <a:moveTo>
                    <a:pt x="811" y="73"/>
                  </a:moveTo>
                  <a:cubicBezTo>
                    <a:pt x="861" y="73"/>
                    <a:pt x="861" y="73"/>
                    <a:pt x="861" y="73"/>
                  </a:cubicBezTo>
                  <a:cubicBezTo>
                    <a:pt x="861" y="59"/>
                    <a:pt x="861" y="59"/>
                    <a:pt x="861" y="59"/>
                  </a:cubicBezTo>
                  <a:cubicBezTo>
                    <a:pt x="827" y="59"/>
                    <a:pt x="827" y="59"/>
                    <a:pt x="827" y="59"/>
                  </a:cubicBezTo>
                  <a:cubicBezTo>
                    <a:pt x="827" y="44"/>
                    <a:pt x="827" y="44"/>
                    <a:pt x="827" y="44"/>
                  </a:cubicBezTo>
                  <a:cubicBezTo>
                    <a:pt x="857" y="44"/>
                    <a:pt x="857" y="44"/>
                    <a:pt x="857" y="44"/>
                  </a:cubicBezTo>
                  <a:cubicBezTo>
                    <a:pt x="857" y="30"/>
                    <a:pt x="857" y="30"/>
                    <a:pt x="857" y="30"/>
                  </a:cubicBezTo>
                  <a:cubicBezTo>
                    <a:pt x="827" y="30"/>
                    <a:pt x="827" y="30"/>
                    <a:pt x="827" y="30"/>
                  </a:cubicBezTo>
                  <a:cubicBezTo>
                    <a:pt x="827" y="16"/>
                    <a:pt x="827" y="16"/>
                    <a:pt x="827" y="16"/>
                  </a:cubicBezTo>
                  <a:cubicBezTo>
                    <a:pt x="859" y="16"/>
                    <a:pt x="859" y="16"/>
                    <a:pt x="859" y="16"/>
                  </a:cubicBezTo>
                  <a:cubicBezTo>
                    <a:pt x="859" y="2"/>
                    <a:pt x="859" y="2"/>
                    <a:pt x="859" y="2"/>
                  </a:cubicBezTo>
                  <a:cubicBezTo>
                    <a:pt x="811" y="2"/>
                    <a:pt x="811" y="2"/>
                    <a:pt x="811" y="2"/>
                  </a:cubicBezTo>
                  <a:lnTo>
                    <a:pt x="811" y="73"/>
                  </a:lnTo>
                  <a:close/>
                  <a:moveTo>
                    <a:pt x="739" y="15"/>
                  </a:moveTo>
                  <a:cubicBezTo>
                    <a:pt x="749" y="15"/>
                    <a:pt x="749" y="15"/>
                    <a:pt x="749" y="15"/>
                  </a:cubicBezTo>
                  <a:cubicBezTo>
                    <a:pt x="750" y="15"/>
                    <a:pt x="752" y="15"/>
                    <a:pt x="753" y="16"/>
                  </a:cubicBezTo>
                  <a:cubicBezTo>
                    <a:pt x="755" y="16"/>
                    <a:pt x="756" y="16"/>
                    <a:pt x="757" y="17"/>
                  </a:cubicBezTo>
                  <a:cubicBezTo>
                    <a:pt x="758" y="17"/>
                    <a:pt x="759" y="18"/>
                    <a:pt x="760" y="19"/>
                  </a:cubicBezTo>
                  <a:cubicBezTo>
                    <a:pt x="761" y="20"/>
                    <a:pt x="761" y="22"/>
                    <a:pt x="761" y="23"/>
                  </a:cubicBezTo>
                  <a:cubicBezTo>
                    <a:pt x="761" y="25"/>
                    <a:pt x="761" y="27"/>
                    <a:pt x="760" y="28"/>
                  </a:cubicBezTo>
                  <a:cubicBezTo>
                    <a:pt x="759" y="29"/>
                    <a:pt x="758" y="30"/>
                    <a:pt x="757" y="30"/>
                  </a:cubicBezTo>
                  <a:cubicBezTo>
                    <a:pt x="755" y="31"/>
                    <a:pt x="754" y="31"/>
                    <a:pt x="752" y="31"/>
                  </a:cubicBezTo>
                  <a:cubicBezTo>
                    <a:pt x="751" y="31"/>
                    <a:pt x="749" y="31"/>
                    <a:pt x="748" y="31"/>
                  </a:cubicBezTo>
                  <a:cubicBezTo>
                    <a:pt x="739" y="31"/>
                    <a:pt x="739" y="31"/>
                    <a:pt x="739" y="31"/>
                  </a:cubicBezTo>
                  <a:lnTo>
                    <a:pt x="739" y="15"/>
                  </a:lnTo>
                  <a:close/>
                  <a:moveTo>
                    <a:pt x="723" y="73"/>
                  </a:moveTo>
                  <a:cubicBezTo>
                    <a:pt x="739" y="73"/>
                    <a:pt x="739" y="73"/>
                    <a:pt x="739" y="73"/>
                  </a:cubicBezTo>
                  <a:cubicBezTo>
                    <a:pt x="739" y="45"/>
                    <a:pt x="739" y="45"/>
                    <a:pt x="739" y="45"/>
                  </a:cubicBezTo>
                  <a:cubicBezTo>
                    <a:pt x="746" y="45"/>
                    <a:pt x="746" y="45"/>
                    <a:pt x="746" y="45"/>
                  </a:cubicBezTo>
                  <a:cubicBezTo>
                    <a:pt x="761" y="73"/>
                    <a:pt x="761" y="73"/>
                    <a:pt x="761" y="73"/>
                  </a:cubicBezTo>
                  <a:cubicBezTo>
                    <a:pt x="780" y="73"/>
                    <a:pt x="780" y="73"/>
                    <a:pt x="780" y="73"/>
                  </a:cubicBezTo>
                  <a:cubicBezTo>
                    <a:pt x="762" y="43"/>
                    <a:pt x="762" y="43"/>
                    <a:pt x="762" y="43"/>
                  </a:cubicBezTo>
                  <a:cubicBezTo>
                    <a:pt x="767" y="42"/>
                    <a:pt x="771" y="40"/>
                    <a:pt x="773" y="36"/>
                  </a:cubicBezTo>
                  <a:cubicBezTo>
                    <a:pt x="776" y="33"/>
                    <a:pt x="777" y="29"/>
                    <a:pt x="777" y="24"/>
                  </a:cubicBezTo>
                  <a:cubicBezTo>
                    <a:pt x="777" y="19"/>
                    <a:pt x="777" y="16"/>
                    <a:pt x="775" y="13"/>
                  </a:cubicBezTo>
                  <a:cubicBezTo>
                    <a:pt x="774" y="10"/>
                    <a:pt x="772" y="8"/>
                    <a:pt x="769" y="7"/>
                  </a:cubicBezTo>
                  <a:cubicBezTo>
                    <a:pt x="767" y="5"/>
                    <a:pt x="764" y="4"/>
                    <a:pt x="761" y="3"/>
                  </a:cubicBezTo>
                  <a:cubicBezTo>
                    <a:pt x="758" y="2"/>
                    <a:pt x="754" y="2"/>
                    <a:pt x="751" y="2"/>
                  </a:cubicBezTo>
                  <a:cubicBezTo>
                    <a:pt x="723" y="2"/>
                    <a:pt x="723" y="2"/>
                    <a:pt x="723" y="2"/>
                  </a:cubicBezTo>
                  <a:lnTo>
                    <a:pt x="723" y="73"/>
                  </a:lnTo>
                  <a:close/>
                  <a:moveTo>
                    <a:pt x="690" y="8"/>
                  </a:moveTo>
                  <a:cubicBezTo>
                    <a:pt x="687" y="5"/>
                    <a:pt x="683" y="3"/>
                    <a:pt x="679" y="2"/>
                  </a:cubicBezTo>
                  <a:cubicBezTo>
                    <a:pt x="676" y="1"/>
                    <a:pt x="672" y="0"/>
                    <a:pt x="668" y="0"/>
                  </a:cubicBezTo>
                  <a:cubicBezTo>
                    <a:pt x="664" y="0"/>
                    <a:pt x="661" y="1"/>
                    <a:pt x="658" y="2"/>
                  </a:cubicBezTo>
                  <a:cubicBezTo>
                    <a:pt x="654" y="3"/>
                    <a:pt x="652" y="4"/>
                    <a:pt x="649" y="6"/>
                  </a:cubicBezTo>
                  <a:cubicBezTo>
                    <a:pt x="647" y="8"/>
                    <a:pt x="645" y="10"/>
                    <a:pt x="643" y="13"/>
                  </a:cubicBezTo>
                  <a:cubicBezTo>
                    <a:pt x="642" y="16"/>
                    <a:pt x="641" y="19"/>
                    <a:pt x="641" y="23"/>
                  </a:cubicBezTo>
                  <a:cubicBezTo>
                    <a:pt x="641" y="27"/>
                    <a:pt x="642" y="30"/>
                    <a:pt x="643" y="33"/>
                  </a:cubicBezTo>
                  <a:cubicBezTo>
                    <a:pt x="645" y="35"/>
                    <a:pt x="647" y="37"/>
                    <a:pt x="649" y="39"/>
                  </a:cubicBezTo>
                  <a:cubicBezTo>
                    <a:pt x="652" y="40"/>
                    <a:pt x="655" y="41"/>
                    <a:pt x="657" y="42"/>
                  </a:cubicBezTo>
                  <a:cubicBezTo>
                    <a:pt x="660" y="43"/>
                    <a:pt x="663" y="44"/>
                    <a:pt x="665" y="45"/>
                  </a:cubicBezTo>
                  <a:cubicBezTo>
                    <a:pt x="668" y="46"/>
                    <a:pt x="670" y="47"/>
                    <a:pt x="672" y="48"/>
                  </a:cubicBezTo>
                  <a:cubicBezTo>
                    <a:pt x="673" y="49"/>
                    <a:pt x="674" y="51"/>
                    <a:pt x="674" y="53"/>
                  </a:cubicBezTo>
                  <a:cubicBezTo>
                    <a:pt x="674" y="54"/>
                    <a:pt x="674" y="55"/>
                    <a:pt x="673" y="56"/>
                  </a:cubicBezTo>
                  <a:cubicBezTo>
                    <a:pt x="672" y="57"/>
                    <a:pt x="672" y="58"/>
                    <a:pt x="671" y="59"/>
                  </a:cubicBezTo>
                  <a:cubicBezTo>
                    <a:pt x="670" y="59"/>
                    <a:pt x="668" y="60"/>
                    <a:pt x="667" y="60"/>
                  </a:cubicBezTo>
                  <a:cubicBezTo>
                    <a:pt x="666" y="60"/>
                    <a:pt x="664" y="60"/>
                    <a:pt x="663" y="60"/>
                  </a:cubicBezTo>
                  <a:cubicBezTo>
                    <a:pt x="661" y="60"/>
                    <a:pt x="658" y="60"/>
                    <a:pt x="656" y="59"/>
                  </a:cubicBezTo>
                  <a:cubicBezTo>
                    <a:pt x="653" y="57"/>
                    <a:pt x="651" y="56"/>
                    <a:pt x="650" y="54"/>
                  </a:cubicBezTo>
                  <a:cubicBezTo>
                    <a:pt x="638" y="66"/>
                    <a:pt x="638" y="66"/>
                    <a:pt x="638" y="66"/>
                  </a:cubicBezTo>
                  <a:cubicBezTo>
                    <a:pt x="642" y="69"/>
                    <a:pt x="646" y="71"/>
                    <a:pt x="649" y="73"/>
                  </a:cubicBezTo>
                  <a:cubicBezTo>
                    <a:pt x="653" y="74"/>
                    <a:pt x="658" y="75"/>
                    <a:pt x="662" y="75"/>
                  </a:cubicBezTo>
                  <a:cubicBezTo>
                    <a:pt x="666" y="75"/>
                    <a:pt x="669" y="74"/>
                    <a:pt x="673" y="73"/>
                  </a:cubicBezTo>
                  <a:cubicBezTo>
                    <a:pt x="676" y="72"/>
                    <a:pt x="679" y="71"/>
                    <a:pt x="681" y="69"/>
                  </a:cubicBezTo>
                  <a:cubicBezTo>
                    <a:pt x="684" y="67"/>
                    <a:pt x="686" y="65"/>
                    <a:pt x="687" y="62"/>
                  </a:cubicBezTo>
                  <a:cubicBezTo>
                    <a:pt x="689" y="59"/>
                    <a:pt x="690" y="55"/>
                    <a:pt x="690" y="51"/>
                  </a:cubicBezTo>
                  <a:cubicBezTo>
                    <a:pt x="690" y="47"/>
                    <a:pt x="689" y="44"/>
                    <a:pt x="687" y="41"/>
                  </a:cubicBezTo>
                  <a:cubicBezTo>
                    <a:pt x="686" y="39"/>
                    <a:pt x="684" y="37"/>
                    <a:pt x="681" y="36"/>
                  </a:cubicBezTo>
                  <a:cubicBezTo>
                    <a:pt x="679" y="34"/>
                    <a:pt x="676" y="33"/>
                    <a:pt x="673" y="32"/>
                  </a:cubicBezTo>
                  <a:cubicBezTo>
                    <a:pt x="671" y="31"/>
                    <a:pt x="668" y="31"/>
                    <a:pt x="665" y="30"/>
                  </a:cubicBezTo>
                  <a:cubicBezTo>
                    <a:pt x="663" y="29"/>
                    <a:pt x="661" y="28"/>
                    <a:pt x="659" y="27"/>
                  </a:cubicBezTo>
                  <a:cubicBezTo>
                    <a:pt x="658" y="26"/>
                    <a:pt x="657" y="24"/>
                    <a:pt x="657" y="22"/>
                  </a:cubicBezTo>
                  <a:cubicBezTo>
                    <a:pt x="657" y="21"/>
                    <a:pt x="657" y="19"/>
                    <a:pt x="658" y="19"/>
                  </a:cubicBezTo>
                  <a:cubicBezTo>
                    <a:pt x="659" y="18"/>
                    <a:pt x="660" y="17"/>
                    <a:pt x="661" y="16"/>
                  </a:cubicBezTo>
                  <a:cubicBezTo>
                    <a:pt x="662" y="16"/>
                    <a:pt x="663" y="15"/>
                    <a:pt x="664" y="15"/>
                  </a:cubicBezTo>
                  <a:cubicBezTo>
                    <a:pt x="665" y="15"/>
                    <a:pt x="666" y="15"/>
                    <a:pt x="668" y="15"/>
                  </a:cubicBezTo>
                  <a:cubicBezTo>
                    <a:pt x="669" y="15"/>
                    <a:pt x="672" y="15"/>
                    <a:pt x="674" y="16"/>
                  </a:cubicBezTo>
                  <a:cubicBezTo>
                    <a:pt x="676" y="17"/>
                    <a:pt x="678" y="18"/>
                    <a:pt x="679" y="19"/>
                  </a:cubicBezTo>
                  <a:lnTo>
                    <a:pt x="690" y="8"/>
                  </a:lnTo>
                  <a:close/>
                  <a:moveTo>
                    <a:pt x="577" y="73"/>
                  </a:moveTo>
                  <a:cubicBezTo>
                    <a:pt x="593" y="73"/>
                    <a:pt x="593" y="73"/>
                    <a:pt x="593" y="73"/>
                  </a:cubicBezTo>
                  <a:cubicBezTo>
                    <a:pt x="593" y="16"/>
                    <a:pt x="593" y="16"/>
                    <a:pt x="593" y="16"/>
                  </a:cubicBezTo>
                  <a:cubicBezTo>
                    <a:pt x="613" y="16"/>
                    <a:pt x="613" y="16"/>
                    <a:pt x="613" y="16"/>
                  </a:cubicBezTo>
                  <a:cubicBezTo>
                    <a:pt x="613" y="2"/>
                    <a:pt x="613" y="2"/>
                    <a:pt x="613" y="2"/>
                  </a:cubicBezTo>
                  <a:cubicBezTo>
                    <a:pt x="557" y="2"/>
                    <a:pt x="557" y="2"/>
                    <a:pt x="557" y="2"/>
                  </a:cubicBezTo>
                  <a:cubicBezTo>
                    <a:pt x="557" y="16"/>
                    <a:pt x="557" y="16"/>
                    <a:pt x="557" y="16"/>
                  </a:cubicBezTo>
                  <a:cubicBezTo>
                    <a:pt x="577" y="16"/>
                    <a:pt x="577" y="16"/>
                    <a:pt x="577" y="16"/>
                  </a:cubicBezTo>
                  <a:lnTo>
                    <a:pt x="577" y="73"/>
                  </a:lnTo>
                  <a:close/>
                  <a:moveTo>
                    <a:pt x="479" y="73"/>
                  </a:moveTo>
                  <a:cubicBezTo>
                    <a:pt x="529" y="73"/>
                    <a:pt x="529" y="73"/>
                    <a:pt x="529" y="73"/>
                  </a:cubicBezTo>
                  <a:cubicBezTo>
                    <a:pt x="529" y="59"/>
                    <a:pt x="529" y="59"/>
                    <a:pt x="529" y="59"/>
                  </a:cubicBezTo>
                  <a:cubicBezTo>
                    <a:pt x="495" y="59"/>
                    <a:pt x="495" y="59"/>
                    <a:pt x="495" y="59"/>
                  </a:cubicBezTo>
                  <a:cubicBezTo>
                    <a:pt x="495" y="44"/>
                    <a:pt x="495" y="44"/>
                    <a:pt x="495" y="44"/>
                  </a:cubicBezTo>
                  <a:cubicBezTo>
                    <a:pt x="526" y="44"/>
                    <a:pt x="526" y="44"/>
                    <a:pt x="526" y="44"/>
                  </a:cubicBezTo>
                  <a:cubicBezTo>
                    <a:pt x="526" y="30"/>
                    <a:pt x="526" y="30"/>
                    <a:pt x="526" y="30"/>
                  </a:cubicBezTo>
                  <a:cubicBezTo>
                    <a:pt x="495" y="30"/>
                    <a:pt x="495" y="30"/>
                    <a:pt x="495" y="30"/>
                  </a:cubicBezTo>
                  <a:cubicBezTo>
                    <a:pt x="495" y="16"/>
                    <a:pt x="495" y="16"/>
                    <a:pt x="495" y="16"/>
                  </a:cubicBezTo>
                  <a:cubicBezTo>
                    <a:pt x="527" y="16"/>
                    <a:pt x="527" y="16"/>
                    <a:pt x="527" y="16"/>
                  </a:cubicBezTo>
                  <a:cubicBezTo>
                    <a:pt x="527" y="2"/>
                    <a:pt x="527" y="2"/>
                    <a:pt x="527" y="2"/>
                  </a:cubicBezTo>
                  <a:cubicBezTo>
                    <a:pt x="479" y="2"/>
                    <a:pt x="479" y="2"/>
                    <a:pt x="479" y="2"/>
                  </a:cubicBezTo>
                  <a:lnTo>
                    <a:pt x="479" y="73"/>
                  </a:lnTo>
                  <a:close/>
                  <a:moveTo>
                    <a:pt x="413" y="73"/>
                  </a:moveTo>
                  <a:cubicBezTo>
                    <a:pt x="429" y="73"/>
                    <a:pt x="429" y="73"/>
                    <a:pt x="429" y="73"/>
                  </a:cubicBezTo>
                  <a:cubicBezTo>
                    <a:pt x="429" y="16"/>
                    <a:pt x="429" y="16"/>
                    <a:pt x="429" y="16"/>
                  </a:cubicBezTo>
                  <a:cubicBezTo>
                    <a:pt x="449" y="16"/>
                    <a:pt x="449" y="16"/>
                    <a:pt x="449" y="16"/>
                  </a:cubicBezTo>
                  <a:cubicBezTo>
                    <a:pt x="449" y="2"/>
                    <a:pt x="449" y="2"/>
                    <a:pt x="449" y="2"/>
                  </a:cubicBezTo>
                  <a:cubicBezTo>
                    <a:pt x="393" y="2"/>
                    <a:pt x="393" y="2"/>
                    <a:pt x="393" y="2"/>
                  </a:cubicBezTo>
                  <a:cubicBezTo>
                    <a:pt x="393" y="16"/>
                    <a:pt x="393" y="16"/>
                    <a:pt x="393" y="16"/>
                  </a:cubicBezTo>
                  <a:cubicBezTo>
                    <a:pt x="413" y="16"/>
                    <a:pt x="413" y="16"/>
                    <a:pt x="413" y="16"/>
                  </a:cubicBezTo>
                  <a:lnTo>
                    <a:pt x="413" y="73"/>
                  </a:lnTo>
                  <a:close/>
                  <a:moveTo>
                    <a:pt x="348" y="73"/>
                  </a:moveTo>
                  <a:cubicBezTo>
                    <a:pt x="364" y="73"/>
                    <a:pt x="364" y="73"/>
                    <a:pt x="364" y="73"/>
                  </a:cubicBezTo>
                  <a:cubicBezTo>
                    <a:pt x="364" y="2"/>
                    <a:pt x="364" y="2"/>
                    <a:pt x="364" y="2"/>
                  </a:cubicBezTo>
                  <a:cubicBezTo>
                    <a:pt x="348" y="2"/>
                    <a:pt x="348" y="2"/>
                    <a:pt x="348" y="2"/>
                  </a:cubicBezTo>
                  <a:lnTo>
                    <a:pt x="348" y="73"/>
                  </a:lnTo>
                  <a:close/>
                  <a:moveTo>
                    <a:pt x="274" y="73"/>
                  </a:moveTo>
                  <a:cubicBezTo>
                    <a:pt x="318" y="73"/>
                    <a:pt x="318" y="73"/>
                    <a:pt x="318" y="73"/>
                  </a:cubicBezTo>
                  <a:cubicBezTo>
                    <a:pt x="318" y="59"/>
                    <a:pt x="318" y="59"/>
                    <a:pt x="318" y="59"/>
                  </a:cubicBezTo>
                  <a:cubicBezTo>
                    <a:pt x="289" y="59"/>
                    <a:pt x="289" y="59"/>
                    <a:pt x="289" y="59"/>
                  </a:cubicBezTo>
                  <a:cubicBezTo>
                    <a:pt x="289" y="2"/>
                    <a:pt x="289" y="2"/>
                    <a:pt x="289" y="2"/>
                  </a:cubicBezTo>
                  <a:cubicBezTo>
                    <a:pt x="274" y="2"/>
                    <a:pt x="274" y="2"/>
                    <a:pt x="274" y="2"/>
                  </a:cubicBezTo>
                  <a:lnTo>
                    <a:pt x="274" y="73"/>
                  </a:lnTo>
                  <a:close/>
                  <a:moveTo>
                    <a:pt x="215" y="45"/>
                  </a:moveTo>
                  <a:cubicBezTo>
                    <a:pt x="198" y="45"/>
                    <a:pt x="198" y="45"/>
                    <a:pt x="198" y="45"/>
                  </a:cubicBezTo>
                  <a:cubicBezTo>
                    <a:pt x="206" y="23"/>
                    <a:pt x="206" y="23"/>
                    <a:pt x="206" y="23"/>
                  </a:cubicBezTo>
                  <a:lnTo>
                    <a:pt x="215" y="45"/>
                  </a:lnTo>
                  <a:close/>
                  <a:moveTo>
                    <a:pt x="170" y="73"/>
                  </a:moveTo>
                  <a:cubicBezTo>
                    <a:pt x="187" y="73"/>
                    <a:pt x="187" y="73"/>
                    <a:pt x="187" y="73"/>
                  </a:cubicBezTo>
                  <a:cubicBezTo>
                    <a:pt x="193" y="58"/>
                    <a:pt x="193" y="58"/>
                    <a:pt x="193" y="58"/>
                  </a:cubicBezTo>
                  <a:cubicBezTo>
                    <a:pt x="220" y="58"/>
                    <a:pt x="220" y="58"/>
                    <a:pt x="220" y="58"/>
                  </a:cubicBezTo>
                  <a:cubicBezTo>
                    <a:pt x="226" y="73"/>
                    <a:pt x="226" y="73"/>
                    <a:pt x="226" y="73"/>
                  </a:cubicBezTo>
                  <a:cubicBezTo>
                    <a:pt x="244" y="73"/>
                    <a:pt x="244" y="73"/>
                    <a:pt x="244" y="73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00" y="2"/>
                    <a:pt x="200" y="2"/>
                    <a:pt x="200" y="2"/>
                  </a:cubicBezTo>
                  <a:lnTo>
                    <a:pt x="170" y="73"/>
                  </a:lnTo>
                  <a:close/>
                  <a:moveTo>
                    <a:pt x="114" y="73"/>
                  </a:moveTo>
                  <a:cubicBezTo>
                    <a:pt x="127" y="73"/>
                    <a:pt x="127" y="73"/>
                    <a:pt x="127" y="73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39" y="2"/>
                    <a:pt x="139" y="2"/>
                    <a:pt x="139" y="2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21" y="49"/>
                    <a:pt x="121" y="49"/>
                    <a:pt x="121" y="49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86" y="2"/>
                    <a:pt x="86" y="2"/>
                    <a:pt x="86" y="2"/>
                  </a:cubicBezTo>
                  <a:lnTo>
                    <a:pt x="114" y="73"/>
                  </a:lnTo>
                  <a:close/>
                  <a:moveTo>
                    <a:pt x="0" y="73"/>
                  </a:moveTo>
                  <a:cubicBezTo>
                    <a:pt x="15" y="73"/>
                    <a:pt x="15" y="73"/>
                    <a:pt x="15" y="73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32" y="35"/>
                    <a:pt x="32" y="35"/>
                    <a:pt x="32" y="35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43" y="2"/>
                    <a:pt x="43" y="2"/>
                    <a:pt x="43" y="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0" y="2"/>
                    <a:pt x="0" y="2"/>
                    <a:pt x="0" y="2"/>
                  </a:cubicBezTo>
                  <a:lnTo>
                    <a:pt x="0" y="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33"/>
            </a:p>
          </p:txBody>
        </p:sp>
      </p:grpSp>
    </p:spTree>
    <p:extLst>
      <p:ext uri="{BB962C8B-B14F-4D97-AF65-F5344CB8AC3E}">
        <p14:creationId xmlns:p14="http://schemas.microsoft.com/office/powerpoint/2010/main" val="3653249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553514" y="1155825"/>
            <a:ext cx="8034847" cy="4338637"/>
          </a:xfrm>
        </p:spPr>
        <p:txBody>
          <a:bodyPr anchor="t" anchorCtr="0"/>
          <a:lstStyle>
            <a:lvl1pPr>
              <a:lnSpc>
                <a:spcPts val="3175"/>
              </a:lnSpc>
              <a:defRPr sz="2177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  <p:cxnSp>
        <p:nvCxnSpPr>
          <p:cNvPr id="8" name="Rak 7"/>
          <p:cNvCxnSpPr/>
          <p:nvPr userDrawn="1"/>
        </p:nvCxnSpPr>
        <p:spPr>
          <a:xfrm flipH="1">
            <a:off x="510414" y="6315177"/>
            <a:ext cx="11163935" cy="0"/>
          </a:xfrm>
          <a:prstGeom prst="line">
            <a:avLst/>
          </a:prstGeom>
          <a:ln w="1016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140774" y="6356933"/>
            <a:ext cx="7910454" cy="364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5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112" name="Bildobjekt 1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819" y="6370576"/>
            <a:ext cx="1566449" cy="415374"/>
          </a:xfrm>
          <a:prstGeom prst="rect">
            <a:avLst/>
          </a:prstGeom>
        </p:spPr>
      </p:pic>
      <p:pic>
        <p:nvPicPr>
          <p:cNvPr id="119" name="Bildobjekt 1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547" y="6454186"/>
            <a:ext cx="2044968" cy="248153"/>
          </a:xfrm>
          <a:prstGeom prst="rect">
            <a:avLst/>
          </a:prstGeom>
        </p:spPr>
      </p:pic>
      <p:cxnSp>
        <p:nvCxnSpPr>
          <p:cNvPr id="122" name="Rak 121"/>
          <p:cNvCxnSpPr/>
          <p:nvPr userDrawn="1"/>
        </p:nvCxnSpPr>
        <p:spPr>
          <a:xfrm flipH="1">
            <a:off x="506939" y="6312412"/>
            <a:ext cx="11163935" cy="0"/>
          </a:xfrm>
          <a:prstGeom prst="line">
            <a:avLst/>
          </a:prstGeom>
          <a:ln w="10160">
            <a:solidFill>
              <a:srgbClr val="87B7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66971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punktlis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06892" y="490616"/>
            <a:ext cx="9135312" cy="1143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206892" y="1911208"/>
            <a:ext cx="9135312" cy="368692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140774" y="6356933"/>
            <a:ext cx="7910454" cy="364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5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589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två kolum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06892" y="490616"/>
            <a:ext cx="9135312" cy="1143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206893" y="1911207"/>
            <a:ext cx="4338079" cy="372229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140774" y="6356933"/>
            <a:ext cx="7910454" cy="364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5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Platshållare för innehåll 2">
            <a:extLst>
              <a:ext uri="{FF2B5EF4-FFF2-40B4-BE49-F238E27FC236}">
                <a16:creationId xmlns:a16="http://schemas.microsoft.com/office/drawing/2014/main" id="{EBDAE581-9C83-4493-8FC0-2921C12281A0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1" y="1911207"/>
            <a:ext cx="4246204" cy="3722292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4993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punktlista,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06892" y="490616"/>
            <a:ext cx="5471920" cy="1143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206892" y="1911208"/>
            <a:ext cx="5471920" cy="368692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6" name="Platshållare för bild 5"/>
          <p:cNvSpPr>
            <a:spLocks noGrp="1"/>
          </p:cNvSpPr>
          <p:nvPr>
            <p:ph type="pic" sz="quarter" idx="10"/>
          </p:nvPr>
        </p:nvSpPr>
        <p:spPr>
          <a:xfrm>
            <a:off x="7015468" y="1330420"/>
            <a:ext cx="3985568" cy="4060373"/>
          </a:xfrm>
        </p:spPr>
        <p:txBody>
          <a:bodyPr tIns="936000"/>
          <a:lstStyle>
            <a:lvl1pPr marL="0" indent="0" algn="ctr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5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140774" y="6356933"/>
            <a:ext cx="7910454" cy="364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5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915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punktlista, bild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06892" y="490616"/>
            <a:ext cx="5471920" cy="1143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206892" y="1911208"/>
            <a:ext cx="5471920" cy="3686924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6" name="Platshållare för bild 5"/>
          <p:cNvSpPr>
            <a:spLocks noGrp="1"/>
          </p:cNvSpPr>
          <p:nvPr>
            <p:ph type="pic" sz="quarter" idx="10"/>
          </p:nvPr>
        </p:nvSpPr>
        <p:spPr>
          <a:xfrm>
            <a:off x="7015468" y="1330421"/>
            <a:ext cx="3985568" cy="2064743"/>
          </a:xfrm>
        </p:spPr>
        <p:txBody>
          <a:bodyPr tIns="288000"/>
          <a:lstStyle>
            <a:lvl1pPr marL="0" indent="0" algn="ctr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7" name="Platshållare för bild 5"/>
          <p:cNvSpPr>
            <a:spLocks noGrp="1"/>
          </p:cNvSpPr>
          <p:nvPr>
            <p:ph type="pic" sz="quarter" idx="11"/>
          </p:nvPr>
        </p:nvSpPr>
        <p:spPr>
          <a:xfrm>
            <a:off x="7015468" y="3611456"/>
            <a:ext cx="3985568" cy="2064743"/>
          </a:xfrm>
        </p:spPr>
        <p:txBody>
          <a:bodyPr tIns="288000"/>
          <a:lstStyle>
            <a:lvl1pPr marL="0" indent="0" algn="ctr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8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140774" y="6356933"/>
            <a:ext cx="7910454" cy="364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5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772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och stor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tshållare för bild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 tIns="1080000"/>
          <a:lstStyle>
            <a:lvl1pPr marL="0" indent="0" algn="ctr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  <a:endParaRPr lang="en-US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129980" y="2762696"/>
            <a:ext cx="8230324" cy="1375429"/>
          </a:xfrm>
          <a:solidFill>
            <a:srgbClr val="0087B2">
              <a:alpha val="83137"/>
            </a:srgb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410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206892" y="490616"/>
            <a:ext cx="9135312" cy="1143000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en-US"/>
          </a:p>
        </p:txBody>
      </p:sp>
      <p:sp>
        <p:nvSpPr>
          <p:cNvPr id="3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140774" y="6356933"/>
            <a:ext cx="7910454" cy="364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5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8214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857929" y="466511"/>
            <a:ext cx="10458043" cy="1347698"/>
          </a:xfrm>
        </p:spPr>
        <p:txBody>
          <a:bodyPr anchor="b" anchorCtr="0"/>
          <a:lstStyle>
            <a:lvl1pPr algn="ctr">
              <a:lnSpc>
                <a:spcPts val="4626"/>
              </a:lnSpc>
              <a:defRPr sz="4626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Avslutande ord</a:t>
            </a:r>
            <a:endParaRPr lang="en-US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868789" y="2047466"/>
            <a:ext cx="10447183" cy="432044"/>
          </a:xfrm>
        </p:spPr>
        <p:txBody>
          <a:bodyPr/>
          <a:lstStyle>
            <a:lvl1pPr marL="0" indent="0" algn="ctr">
              <a:lnSpc>
                <a:spcPts val="3175"/>
              </a:lnSpc>
              <a:buFontTx/>
              <a:buNone/>
              <a:defRPr sz="3084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Kontaktuppgifter</a:t>
            </a:r>
          </a:p>
        </p:txBody>
      </p:sp>
      <p:cxnSp>
        <p:nvCxnSpPr>
          <p:cNvPr id="111" name="Rak 110"/>
          <p:cNvCxnSpPr/>
          <p:nvPr userDrawn="1"/>
        </p:nvCxnSpPr>
        <p:spPr>
          <a:xfrm flipH="1">
            <a:off x="510414" y="6315177"/>
            <a:ext cx="11163935" cy="0"/>
          </a:xfrm>
          <a:prstGeom prst="line">
            <a:avLst/>
          </a:prstGeom>
          <a:ln w="10160">
            <a:solidFill>
              <a:srgbClr val="87B7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" name="Bildobjekt 1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819" y="6370576"/>
            <a:ext cx="1566449" cy="415374"/>
          </a:xfrm>
          <a:prstGeom prst="rect">
            <a:avLst/>
          </a:prstGeom>
        </p:spPr>
      </p:pic>
      <p:pic>
        <p:nvPicPr>
          <p:cNvPr id="119" name="Bildobjekt 1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733" y="6454186"/>
            <a:ext cx="2044968" cy="248153"/>
          </a:xfrm>
          <a:prstGeom prst="rect">
            <a:avLst/>
          </a:prstGeom>
        </p:spPr>
      </p:pic>
      <p:sp>
        <p:nvSpPr>
          <p:cNvPr id="121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140774" y="6356933"/>
            <a:ext cx="7910454" cy="364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5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6018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857929" y="466511"/>
            <a:ext cx="10458043" cy="1347698"/>
          </a:xfrm>
        </p:spPr>
        <p:txBody>
          <a:bodyPr anchor="b" anchorCtr="0"/>
          <a:lstStyle>
            <a:lvl1pPr algn="l">
              <a:lnSpc>
                <a:spcPts val="4626"/>
              </a:lnSpc>
              <a:defRPr sz="4626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Titel på presentationen</a:t>
            </a:r>
            <a:endParaRPr lang="en-US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868789" y="2047466"/>
            <a:ext cx="10447183" cy="432044"/>
          </a:xfrm>
        </p:spPr>
        <p:txBody>
          <a:bodyPr/>
          <a:lstStyle>
            <a:lvl1pPr marL="0" indent="0" algn="l">
              <a:lnSpc>
                <a:spcPts val="3175"/>
              </a:lnSpc>
              <a:buFontTx/>
              <a:buNone/>
              <a:defRPr sz="3084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Namn</a:t>
            </a:r>
          </a:p>
        </p:txBody>
      </p:sp>
      <p:sp>
        <p:nvSpPr>
          <p:cNvPr id="120" name="Platshållare för text 4"/>
          <p:cNvSpPr>
            <a:spLocks noGrp="1"/>
          </p:cNvSpPr>
          <p:nvPr>
            <p:ph type="body" sz="quarter" idx="11" hasCustomPrompt="1"/>
          </p:nvPr>
        </p:nvSpPr>
        <p:spPr>
          <a:xfrm>
            <a:off x="868789" y="2532685"/>
            <a:ext cx="10447183" cy="910845"/>
          </a:xfrm>
        </p:spPr>
        <p:txBody>
          <a:bodyPr/>
          <a:lstStyle>
            <a:lvl1pPr marL="0" indent="0" algn="l">
              <a:lnSpc>
                <a:spcPts val="3175"/>
              </a:lnSpc>
              <a:buFontTx/>
              <a:buNone/>
              <a:defRPr sz="1814">
                <a:solidFill>
                  <a:schemeClr val="tx1"/>
                </a:solidFill>
              </a:defRPr>
            </a:lvl1pPr>
          </a:lstStyle>
          <a:p>
            <a:pPr lvl="0"/>
            <a:r>
              <a:rPr lang="sv-SE" dirty="0"/>
              <a:t>e-post</a:t>
            </a:r>
          </a:p>
        </p:txBody>
      </p:sp>
      <p:sp>
        <p:nvSpPr>
          <p:cNvPr id="121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140774" y="6356933"/>
            <a:ext cx="7910454" cy="364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5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F05EC7E-FEC4-472B-B230-1167095E9C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789" y="5392912"/>
            <a:ext cx="4514964" cy="79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280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2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22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84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2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65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5.emf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223EEBE-07D2-4BC2-B732-B72D949B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497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11" imgH="412" progId="TCLayout.ActiveDocument.1">
                  <p:embed/>
                </p:oleObj>
              </mc:Choice>
              <mc:Fallback>
                <p:oleObj name="think-cell Slide" r:id="rId17" imgW="411" imgH="412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223EEBE-07D2-4BC2-B732-B72D949B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92491012-DCA1-42B2-89F4-9B6C3B60D0E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400" b="1" i="0" baseline="0" dirty="0">
              <a:latin typeface="Inter"/>
              <a:ea typeface="+mj-ea"/>
              <a:cs typeface="+mj-cs"/>
              <a:sym typeface="Inter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8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9" r:id="rId4"/>
    <p:sldLayoutId id="2147483656" r:id="rId5"/>
    <p:sldLayoutId id="2147483657" r:id="rId6"/>
    <p:sldLayoutId id="2147483660" r:id="rId7"/>
    <p:sldLayoutId id="2147483653" r:id="rId8"/>
    <p:sldLayoutId id="2147483654" r:id="rId9"/>
    <p:sldLayoutId id="2147483650" r:id="rId10"/>
    <p:sldLayoutId id="2147483652" r:id="rId11"/>
    <p:sldLayoutId id="2147483655" r:id="rId12"/>
    <p:sldLayoutId id="214748366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228612" y="490616"/>
            <a:ext cx="9135312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US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228612" y="1911208"/>
            <a:ext cx="9135312" cy="36869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cxnSp>
        <p:nvCxnSpPr>
          <p:cNvPr id="9" name="Rak 8"/>
          <p:cNvCxnSpPr/>
          <p:nvPr/>
        </p:nvCxnSpPr>
        <p:spPr>
          <a:xfrm flipH="1">
            <a:off x="510414" y="6315177"/>
            <a:ext cx="11163935" cy="0"/>
          </a:xfrm>
          <a:prstGeom prst="line">
            <a:avLst/>
          </a:prstGeom>
          <a:ln w="10160">
            <a:solidFill>
              <a:srgbClr val="87B72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Bildobjekt 1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0819" y="6370576"/>
            <a:ext cx="1566449" cy="415374"/>
          </a:xfrm>
          <a:prstGeom prst="rect">
            <a:avLst/>
          </a:prstGeom>
        </p:spPr>
      </p:pic>
      <p:pic>
        <p:nvPicPr>
          <p:cNvPr id="12" name="Bildobjekt 1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733" y="6473061"/>
            <a:ext cx="2044966" cy="248153"/>
          </a:xfrm>
          <a:prstGeom prst="rect">
            <a:avLst/>
          </a:prstGeom>
        </p:spPr>
      </p:pic>
      <p:sp>
        <p:nvSpPr>
          <p:cNvPr id="4" name="Platshållare för sidfot 3"/>
          <p:cNvSpPr>
            <a:spLocks noGrp="1"/>
          </p:cNvSpPr>
          <p:nvPr>
            <p:ph type="ftr" sz="quarter" idx="3"/>
          </p:nvPr>
        </p:nvSpPr>
        <p:spPr>
          <a:xfrm>
            <a:off x="2140774" y="6356933"/>
            <a:ext cx="7910454" cy="3642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51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952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sldNum="0" hdr="0" dt="0"/>
  <p:txStyles>
    <p:titleStyle>
      <a:lvl1pPr algn="l" defTabSz="946052" rtl="0" eaLnBrk="1" latinLnBrk="0" hangingPunct="1">
        <a:lnSpc>
          <a:spcPts val="3265"/>
        </a:lnSpc>
        <a:spcBef>
          <a:spcPct val="0"/>
        </a:spcBef>
        <a:buNone/>
        <a:defRPr sz="3084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1897" indent="-241897" algn="l" defTabSz="946052" rtl="0" eaLnBrk="1" latinLnBrk="0" hangingPunct="1">
        <a:lnSpc>
          <a:spcPts val="2630"/>
        </a:lnSpc>
        <a:spcBef>
          <a:spcPts val="2086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1pPr>
      <a:lvl2pPr marL="492433" indent="-250536" algn="l" defTabSz="94605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­"/>
        <a:defRPr sz="1451" kern="1200">
          <a:solidFill>
            <a:schemeClr val="tx1"/>
          </a:solidFill>
          <a:latin typeface="+mn-lt"/>
          <a:ea typeface="+mn-ea"/>
          <a:cs typeface="+mn-cs"/>
        </a:defRPr>
      </a:lvl2pPr>
      <a:lvl3pPr marL="734330" indent="-241897" algn="l" defTabSz="94605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­"/>
        <a:defRPr sz="1451" kern="1200">
          <a:solidFill>
            <a:schemeClr val="tx1"/>
          </a:solidFill>
          <a:latin typeface="+mn-lt"/>
          <a:ea typeface="+mn-ea"/>
          <a:cs typeface="+mn-cs"/>
        </a:defRPr>
      </a:lvl3pPr>
      <a:lvl4pPr marL="976227" indent="-241897" algn="l" defTabSz="94605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­"/>
        <a:defRPr sz="1451" kern="1200">
          <a:solidFill>
            <a:schemeClr val="tx1"/>
          </a:solidFill>
          <a:latin typeface="+mn-lt"/>
          <a:ea typeface="+mn-ea"/>
          <a:cs typeface="+mn-cs"/>
        </a:defRPr>
      </a:lvl4pPr>
      <a:lvl5pPr marL="1218124" indent="-241897" algn="l" defTabSz="946052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­"/>
        <a:defRPr sz="1451" kern="1200">
          <a:solidFill>
            <a:schemeClr val="tx1"/>
          </a:solidFill>
          <a:latin typeface="+mn-lt"/>
          <a:ea typeface="+mn-ea"/>
          <a:cs typeface="+mn-cs"/>
        </a:defRPr>
      </a:lvl5pPr>
      <a:lvl6pPr marL="2601642" indent="-236513" algn="l" defTabSz="946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6pPr>
      <a:lvl7pPr marL="3074668" indent="-236513" algn="l" defTabSz="946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7pPr>
      <a:lvl8pPr marL="3547694" indent="-236513" algn="l" defTabSz="946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8pPr>
      <a:lvl9pPr marL="4020720" indent="-236513" algn="l" defTabSz="94605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46052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3026" algn="l" defTabSz="946052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46052" algn="l" defTabSz="946052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19078" algn="l" defTabSz="946052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892104" algn="l" defTabSz="946052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65129" algn="l" defTabSz="946052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8155" algn="l" defTabSz="946052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11181" algn="l" defTabSz="946052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84207" algn="l" defTabSz="946052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enti.com/" TargetMode="External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inera.atlassian.net/wiki/spaces/OFORM/pages/146637459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://www.menti.com/" TargetMode="External"/><Relationship Id="rId4" Type="http://schemas.openxmlformats.org/officeDocument/2006/relationships/image" Target="../media/image8.tif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hyperlink" Target="http://www.menti.com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hyperlink" Target="mailto:formularhantering@1177.se" TargetMode="Externa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6573EA7-C0D5-4A99-856B-5428F6A2DA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Användarforum 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sz="1200" dirty="0">
                <a:solidFill>
                  <a:schemeClr val="accent1"/>
                </a:solidFill>
              </a:rPr>
              <a:t> 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sz="3600" dirty="0"/>
              <a:t>Regionalt ansvariga och Nationella förvaltningen</a:t>
            </a:r>
            <a:br>
              <a:rPr lang="sv-SE" sz="3600" dirty="0"/>
            </a:br>
            <a:r>
              <a:rPr lang="sv-SE" sz="3600" dirty="0"/>
              <a:t>Formulärhantering</a:t>
            </a:r>
            <a:endParaRPr lang="sv-SE" dirty="0"/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7C3A8192-81A1-4B54-8CE2-055E1C43C1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2023-06-14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5B162E83-67A7-4049-ADEE-F7B6E080551B}"/>
              </a:ext>
            </a:extLst>
          </p:cNvPr>
          <p:cNvSpPr txBox="1"/>
          <p:nvPr/>
        </p:nvSpPr>
        <p:spPr>
          <a:xfrm>
            <a:off x="10939799" y="6604187"/>
            <a:ext cx="1300474" cy="21114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sv-SE" sz="1200" dirty="0">
                <a:solidFill>
                  <a:schemeClr val="bg1"/>
                </a:solidFill>
              </a:rPr>
              <a:t>Jenny</a:t>
            </a:r>
            <a:r>
              <a:rPr lang="sv-SE" sz="1400" dirty="0">
                <a:solidFill>
                  <a:schemeClr val="bg1"/>
                </a:solidFill>
              </a:rPr>
              <a:t> </a:t>
            </a:r>
            <a:r>
              <a:rPr lang="sv-SE" sz="1200" dirty="0" err="1">
                <a:solidFill>
                  <a:schemeClr val="bg1"/>
                </a:solidFill>
              </a:rPr>
              <a:t>Åshammar</a:t>
            </a:r>
            <a:endParaRPr lang="sv-SE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5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2B439ADA-6284-DA4F-9A73-13B5AA99A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3186293"/>
            <a:ext cx="8229600" cy="485414"/>
          </a:xfrm>
        </p:spPr>
        <p:txBody>
          <a:bodyPr>
            <a:normAutofit fontScale="90000"/>
          </a:bodyPr>
          <a:lstStyle/>
          <a:p>
            <a:pPr algn="ctr"/>
            <a:r>
              <a:rPr lang="sv-SE" dirty="0">
                <a:solidFill>
                  <a:schemeClr val="accent1"/>
                </a:solidFill>
              </a:rPr>
              <a:t>Bensträckare</a:t>
            </a:r>
            <a:br>
              <a:rPr lang="sv-SE" dirty="0">
                <a:solidFill>
                  <a:schemeClr val="accent1"/>
                </a:solidFill>
              </a:rPr>
            </a:br>
            <a:br>
              <a:rPr lang="sv-SE" dirty="0">
                <a:solidFill>
                  <a:schemeClr val="accent1"/>
                </a:solidFill>
              </a:rPr>
            </a:br>
            <a:r>
              <a:rPr lang="sv-SE" sz="2700" i="1" dirty="0"/>
              <a:t>vi ses igen om 5 minuter!   </a:t>
            </a:r>
            <a:r>
              <a:rPr lang="sv-SE" sz="2700" dirty="0"/>
              <a:t>🙌🏼</a:t>
            </a:r>
            <a:endParaRPr lang="sv-S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3325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D7E3992B-CF98-0145-B366-A9224158F4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Exempelvis </a:t>
            </a:r>
          </a:p>
          <a:p>
            <a:pPr lvl="1"/>
            <a:r>
              <a:rPr lang="sv-SE" dirty="0"/>
              <a:t>er största utmaning just nu</a:t>
            </a:r>
          </a:p>
          <a:p>
            <a:pPr lvl="1"/>
            <a:r>
              <a:rPr lang="sv-SE" dirty="0"/>
              <a:t>ert bästa tips</a:t>
            </a:r>
          </a:p>
          <a:p>
            <a:pPr lvl="1"/>
            <a:r>
              <a:rPr lang="sv-SE" dirty="0"/>
              <a:t>vilken typ av formulär ni jobbar med just nu</a:t>
            </a:r>
          </a:p>
          <a:p>
            <a:pPr lvl="1"/>
            <a:r>
              <a:rPr lang="sv-SE" dirty="0"/>
              <a:t>Integration med Cosmic eller Millenium</a:t>
            </a:r>
          </a:p>
          <a:p>
            <a:pPr lvl="1"/>
            <a:r>
              <a:rPr lang="sv-SE" dirty="0"/>
              <a:t>annan fråga som ni önskar lyfta idag</a:t>
            </a:r>
          </a:p>
          <a:p>
            <a:endParaRPr lang="sv-SE" dirty="0"/>
          </a:p>
          <a:p>
            <a:r>
              <a:rPr lang="sv-SE" dirty="0"/>
              <a:t>Idag kör vi söder till norr! 📣</a:t>
            </a:r>
            <a:endParaRPr lang="sv-SE" i="1" dirty="0">
              <a:solidFill>
                <a:schemeClr val="accent2"/>
              </a:solidFill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9EA6E761-0363-9447-BB33-FC0837EB8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Check-in: </a:t>
            </a:r>
            <a:r>
              <a:rPr lang="sv-SE" dirty="0"/>
              <a:t>Vad vill du ta upp idag?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119F5D84-2B34-324A-95C2-3B8274A658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1373" y="1581271"/>
            <a:ext cx="3971787" cy="2838329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7BBEF27A-9A6C-6D84-05F4-7247A7773DC5}"/>
              </a:ext>
            </a:extLst>
          </p:cNvPr>
          <p:cNvSpPr txBox="1"/>
          <p:nvPr/>
        </p:nvSpPr>
        <p:spPr>
          <a:xfrm>
            <a:off x="922424" y="5624515"/>
            <a:ext cx="5911403" cy="34608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sv-SE" sz="1600" i="1" dirty="0" err="1">
                <a:solidFill>
                  <a:schemeClr val="accent2"/>
                </a:solidFill>
              </a:rPr>
              <a:t>https</a:t>
            </a:r>
            <a:r>
              <a:rPr lang="sv-SE" sz="1600" i="1" dirty="0">
                <a:solidFill>
                  <a:schemeClr val="accent2"/>
                </a:solidFill>
              </a:rPr>
              <a:t>://</a:t>
            </a:r>
            <a:r>
              <a:rPr lang="sv-SE" sz="1600" i="1" dirty="0" err="1">
                <a:solidFill>
                  <a:schemeClr val="accent2"/>
                </a:solidFill>
              </a:rPr>
              <a:t>www.varldenshaftigaste.se</a:t>
            </a:r>
            <a:r>
              <a:rPr lang="sv-SE" sz="1600" i="1" dirty="0">
                <a:solidFill>
                  <a:schemeClr val="accent2"/>
                </a:solidFill>
              </a:rPr>
              <a:t>/topplistor/sveriges-21-lan/</a:t>
            </a:r>
          </a:p>
        </p:txBody>
      </p:sp>
    </p:spTree>
    <p:extLst>
      <p:ext uri="{BB962C8B-B14F-4D97-AF65-F5344CB8AC3E}">
        <p14:creationId xmlns:p14="http://schemas.microsoft.com/office/powerpoint/2010/main" val="2500893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9439DB18-B0E6-3240-925C-D085CF9EC0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10459450" cy="4864281"/>
          </a:xfrm>
        </p:spPr>
        <p:txBody>
          <a:bodyPr/>
          <a:lstStyle/>
          <a:p>
            <a:r>
              <a:rPr lang="sv-SE" dirty="0"/>
              <a:t>Er återkoppling är superviktig – detta är ert forum! ✨</a:t>
            </a:r>
          </a:p>
          <a:p>
            <a:r>
              <a:rPr lang="sv-SE" dirty="0"/>
              <a:t>Vad vill ni behålla?</a:t>
            </a:r>
          </a:p>
          <a:p>
            <a:r>
              <a:rPr lang="sv-SE" dirty="0"/>
              <a:t>Vad vill ni ändra på?</a:t>
            </a:r>
          </a:p>
          <a:p>
            <a:r>
              <a:rPr lang="sv-SE" dirty="0"/>
              <a:t>Struktur, innehåll, frekvens</a:t>
            </a:r>
          </a:p>
          <a:p>
            <a:r>
              <a:rPr lang="sv-SE" dirty="0"/>
              <a:t>Vad vill ni se mer av?</a:t>
            </a:r>
          </a:p>
          <a:p>
            <a:pPr lvl="1"/>
            <a:r>
              <a:rPr lang="sv-SE" dirty="0"/>
              <a:t>Favorit i repris? </a:t>
            </a:r>
          </a:p>
          <a:p>
            <a:pPr lvl="1"/>
            <a:r>
              <a:rPr lang="sv-SE" dirty="0"/>
              <a:t>Diskussion? </a:t>
            </a:r>
          </a:p>
          <a:p>
            <a:pPr lvl="1"/>
            <a:r>
              <a:rPr lang="sv-SE" dirty="0"/>
              <a:t>Funktion? </a:t>
            </a:r>
          </a:p>
          <a:p>
            <a:r>
              <a:rPr lang="sv-SE" dirty="0"/>
              <a:t>Andra förändringar ni </a:t>
            </a:r>
            <a:br>
              <a:rPr lang="sv-SE" dirty="0"/>
            </a:br>
            <a:r>
              <a:rPr lang="sv-SE" dirty="0"/>
              <a:t>klurat på 🤔</a:t>
            </a:r>
          </a:p>
          <a:p>
            <a:endParaRPr lang="sv-SE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1201B3C0-DCB0-AF4E-9E8F-ADF31C491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 err="1">
                <a:solidFill>
                  <a:schemeClr val="accent1"/>
                </a:solidFill>
              </a:rPr>
              <a:t>Mentimeter</a:t>
            </a:r>
            <a:r>
              <a:rPr lang="sv-SE" dirty="0"/>
              <a:t> – Tankar och idéer om Användarforum</a:t>
            </a: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717C9BA4-52DF-CB4B-BA98-530568B794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2819" y="3213675"/>
            <a:ext cx="4338855" cy="2612322"/>
          </a:xfrm>
          <a:prstGeom prst="rect">
            <a:avLst/>
          </a:prstGeom>
        </p:spPr>
      </p:pic>
      <p:sp>
        <p:nvSpPr>
          <p:cNvPr id="14" name="Rektangel 13">
            <a:extLst>
              <a:ext uri="{FF2B5EF4-FFF2-40B4-BE49-F238E27FC236}">
                <a16:creationId xmlns:a16="http://schemas.microsoft.com/office/drawing/2014/main" id="{379017CB-D511-BE45-A6D1-62F2F6A3DDD3}"/>
              </a:ext>
            </a:extLst>
          </p:cNvPr>
          <p:cNvSpPr/>
          <p:nvPr/>
        </p:nvSpPr>
        <p:spPr>
          <a:xfrm>
            <a:off x="4514830" y="2312126"/>
            <a:ext cx="5465193" cy="367066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Rubrik 2">
            <a:extLst>
              <a:ext uri="{FF2B5EF4-FFF2-40B4-BE49-F238E27FC236}">
                <a16:creationId xmlns:a16="http://schemas.microsoft.com/office/drawing/2014/main" id="{239D4880-F251-4F4A-9F58-7B8479BE3D5F}"/>
              </a:ext>
            </a:extLst>
          </p:cNvPr>
          <p:cNvSpPr txBox="1">
            <a:spLocks/>
          </p:cNvSpPr>
          <p:nvPr/>
        </p:nvSpPr>
        <p:spPr>
          <a:xfrm>
            <a:off x="4458167" y="2383299"/>
            <a:ext cx="5465193" cy="909870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sv-SE" sz="2800" b="0" dirty="0"/>
              <a:t>Öppna </a:t>
            </a:r>
            <a:r>
              <a:rPr lang="sv-SE" sz="2800" b="0" dirty="0">
                <a:hlinkClick r:id="rId3"/>
              </a:rPr>
              <a:t>www.menti.com</a:t>
            </a:r>
            <a:endParaRPr lang="sv-SE" sz="2800" b="0" dirty="0"/>
          </a:p>
          <a:p>
            <a:pPr>
              <a:lnSpc>
                <a:spcPct val="120000"/>
              </a:lnSpc>
            </a:pPr>
            <a:r>
              <a:rPr lang="sv-SE" sz="2800" b="0" dirty="0"/>
              <a:t>ange kod 3940 9273</a:t>
            </a:r>
          </a:p>
        </p:txBody>
      </p:sp>
    </p:spTree>
    <p:extLst>
      <p:ext uri="{BB962C8B-B14F-4D97-AF65-F5344CB8AC3E}">
        <p14:creationId xmlns:p14="http://schemas.microsoft.com/office/powerpoint/2010/main" val="29781575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78BFAA20-A49D-CB41-90A4-2802423734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Användarforum hålls via videomöte en gång per månad under 2023</a:t>
            </a:r>
          </a:p>
          <a:p>
            <a:r>
              <a:rPr lang="sv-SE" dirty="0"/>
              <a:t>Månadens </a:t>
            </a:r>
            <a:r>
              <a:rPr lang="sv-SE" i="1" dirty="0"/>
              <a:t>Fördjupningsområde</a:t>
            </a:r>
            <a:r>
              <a:rPr lang="sv-SE" dirty="0"/>
              <a:t> bestämmer vi tillsammans</a:t>
            </a:r>
          </a:p>
          <a:p>
            <a:r>
              <a:rPr lang="sv-SE" dirty="0"/>
              <a:t>Inspelning från Användarforum läggs på vår </a:t>
            </a:r>
            <a:r>
              <a:rPr lang="sv-SE" dirty="0" err="1"/>
              <a:t>wiki</a:t>
            </a:r>
            <a:r>
              <a:rPr lang="sv-SE" dirty="0"/>
              <a:t>:</a:t>
            </a:r>
            <a:br>
              <a:rPr lang="sv-SE" dirty="0"/>
            </a:br>
            <a:r>
              <a:rPr lang="sv-SE" i="1" dirty="0">
                <a:hlinkClick r:id="rId3"/>
              </a:rPr>
              <a:t>https://inera.atlassian.net/wiki/spaces/OFORM/pages/146637459</a:t>
            </a:r>
            <a:endParaRPr lang="sv-SE" dirty="0"/>
          </a:p>
          <a:p>
            <a:endParaRPr lang="sv-SE" dirty="0"/>
          </a:p>
          <a:p>
            <a:r>
              <a:rPr lang="sv-SE" dirty="0"/>
              <a:t>Planerade datum, onsdagar </a:t>
            </a:r>
            <a:r>
              <a:rPr lang="sv-SE" dirty="0" err="1"/>
              <a:t>kl</a:t>
            </a:r>
            <a:r>
              <a:rPr lang="sv-SE" dirty="0"/>
              <a:t> 10.00-11.30:</a:t>
            </a: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107B5D14-30E4-AF48-AA1F-DAE17839A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Kommande</a:t>
            </a:r>
            <a:r>
              <a:rPr lang="sv-SE" dirty="0"/>
              <a:t> Användarforum 2023</a:t>
            </a:r>
          </a:p>
        </p:txBody>
      </p:sp>
      <p:sp>
        <p:nvSpPr>
          <p:cNvPr id="11" name="Platshållare för innehåll 1">
            <a:extLst>
              <a:ext uri="{FF2B5EF4-FFF2-40B4-BE49-F238E27FC236}">
                <a16:creationId xmlns:a16="http://schemas.microsoft.com/office/drawing/2014/main" id="{13B4C29B-2331-AC43-BB60-F801D7F532C5}"/>
              </a:ext>
            </a:extLst>
          </p:cNvPr>
          <p:cNvSpPr txBox="1">
            <a:spLocks/>
          </p:cNvSpPr>
          <p:nvPr/>
        </p:nvSpPr>
        <p:spPr>
          <a:xfrm>
            <a:off x="1216074" y="3855123"/>
            <a:ext cx="10459450" cy="25924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q"/>
            </a:pPr>
            <a:r>
              <a:rPr lang="sv-SE" dirty="0"/>
              <a:t>25 januari</a:t>
            </a:r>
            <a:endParaRPr lang="sv-SE" sz="1600" i="1" dirty="0"/>
          </a:p>
          <a:p>
            <a:pPr>
              <a:buFont typeface="Wingdings" pitchFamily="2" charset="2"/>
              <a:buChar char="q"/>
            </a:pPr>
            <a:r>
              <a:rPr lang="sv-SE" dirty="0"/>
              <a:t>22 februari</a:t>
            </a:r>
          </a:p>
          <a:p>
            <a:pPr>
              <a:buFont typeface="Wingdings" pitchFamily="2" charset="2"/>
              <a:buChar char="q"/>
            </a:pPr>
            <a:r>
              <a:rPr lang="sv-SE" dirty="0"/>
              <a:t>22 mars</a:t>
            </a:r>
          </a:p>
          <a:p>
            <a:pPr>
              <a:buFont typeface="Wingdings" pitchFamily="2" charset="2"/>
              <a:buChar char="q"/>
            </a:pPr>
            <a:r>
              <a:rPr lang="sv-SE" strike="sngStrike" dirty="0"/>
              <a:t>26 april</a:t>
            </a:r>
            <a:endParaRPr lang="sv-SE" i="1" strike="sngStrike" dirty="0"/>
          </a:p>
          <a:p>
            <a:pPr>
              <a:buFont typeface="Wingdings" pitchFamily="2" charset="2"/>
              <a:buChar char="q"/>
            </a:pPr>
            <a:r>
              <a:rPr lang="sv-SE" strike="sngStrike" dirty="0"/>
              <a:t>24 maj</a:t>
            </a:r>
            <a:endParaRPr lang="sv-SE" i="1" strike="sngStrike" dirty="0"/>
          </a:p>
        </p:txBody>
      </p:sp>
      <p:sp>
        <p:nvSpPr>
          <p:cNvPr id="12" name="Platshållare för innehåll 1">
            <a:extLst>
              <a:ext uri="{FF2B5EF4-FFF2-40B4-BE49-F238E27FC236}">
                <a16:creationId xmlns:a16="http://schemas.microsoft.com/office/drawing/2014/main" id="{720EC639-9A6E-CE4B-85EE-BC84E0D40E5A}"/>
              </a:ext>
            </a:extLst>
          </p:cNvPr>
          <p:cNvSpPr txBox="1">
            <a:spLocks/>
          </p:cNvSpPr>
          <p:nvPr/>
        </p:nvSpPr>
        <p:spPr>
          <a:xfrm>
            <a:off x="4272761" y="3886915"/>
            <a:ext cx="4520719" cy="29631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q"/>
            </a:pPr>
            <a:r>
              <a:rPr lang="sv-SE" dirty="0"/>
              <a:t>14 juni</a:t>
            </a:r>
          </a:p>
          <a:p>
            <a:pPr>
              <a:buFont typeface="Wingdings" pitchFamily="2" charset="2"/>
              <a:buChar char="q"/>
            </a:pPr>
            <a:r>
              <a:rPr lang="sv-SE" dirty="0"/>
              <a:t>27 september</a:t>
            </a:r>
            <a:endParaRPr lang="sv-SE" i="1" dirty="0"/>
          </a:p>
          <a:p>
            <a:pPr>
              <a:buFont typeface="Wingdings" pitchFamily="2" charset="2"/>
              <a:buChar char="q"/>
            </a:pPr>
            <a:r>
              <a:rPr lang="sv-SE" dirty="0"/>
              <a:t>25 oktober</a:t>
            </a:r>
          </a:p>
          <a:p>
            <a:pPr>
              <a:buFont typeface="Wingdings" pitchFamily="2" charset="2"/>
              <a:buChar char="q"/>
            </a:pPr>
            <a:r>
              <a:rPr lang="sv-SE" dirty="0"/>
              <a:t>29 november</a:t>
            </a:r>
          </a:p>
        </p:txBody>
      </p:sp>
      <p:sp>
        <p:nvSpPr>
          <p:cNvPr id="24" name="Oval pratbubbla 23">
            <a:extLst>
              <a:ext uri="{FF2B5EF4-FFF2-40B4-BE49-F238E27FC236}">
                <a16:creationId xmlns:a16="http://schemas.microsoft.com/office/drawing/2014/main" id="{A20090B2-C176-DC45-B34E-B9ED07C2CF87}"/>
              </a:ext>
            </a:extLst>
          </p:cNvPr>
          <p:cNvSpPr/>
          <p:nvPr/>
        </p:nvSpPr>
        <p:spPr>
          <a:xfrm>
            <a:off x="6532190" y="3116070"/>
            <a:ext cx="3848910" cy="1153135"/>
          </a:xfrm>
          <a:prstGeom prst="wedgeEllipseCallout">
            <a:avLst>
              <a:gd name="adj1" fmla="val -59002"/>
              <a:gd name="adj2" fmla="val 69365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>
                <a:solidFill>
                  <a:schemeClr val="bg1"/>
                </a:solidFill>
              </a:rPr>
              <a:t>Lägg in en platshållare redan nu. Inbjudningar kommer löpande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185FC067-13BD-9C4A-8ED5-6545E42CB3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92117" y="1317538"/>
            <a:ext cx="2363162" cy="1422804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E472CC67-B2F6-C84C-B465-5EB865FE57FF}"/>
              </a:ext>
            </a:extLst>
          </p:cNvPr>
          <p:cNvSpPr/>
          <p:nvPr/>
        </p:nvSpPr>
        <p:spPr>
          <a:xfrm>
            <a:off x="8685387" y="483718"/>
            <a:ext cx="2976623" cy="241910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Rubrik 2">
            <a:extLst>
              <a:ext uri="{FF2B5EF4-FFF2-40B4-BE49-F238E27FC236}">
                <a16:creationId xmlns:a16="http://schemas.microsoft.com/office/drawing/2014/main" id="{C83F1170-0749-BA44-80E9-401C51EC404F}"/>
              </a:ext>
            </a:extLst>
          </p:cNvPr>
          <p:cNvSpPr txBox="1">
            <a:spLocks/>
          </p:cNvSpPr>
          <p:nvPr/>
        </p:nvSpPr>
        <p:spPr>
          <a:xfrm>
            <a:off x="8685386" y="493927"/>
            <a:ext cx="2976623" cy="679938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7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sv-SE" sz="2800" b="0" dirty="0"/>
              <a:t>Öppna </a:t>
            </a:r>
            <a:r>
              <a:rPr lang="sv-SE" sz="2800" b="0" dirty="0">
                <a:hlinkClick r:id="rId5"/>
              </a:rPr>
              <a:t>www.menti.com</a:t>
            </a:r>
            <a:endParaRPr lang="sv-SE" sz="2800" b="0" dirty="0"/>
          </a:p>
          <a:p>
            <a:pPr>
              <a:lnSpc>
                <a:spcPct val="120000"/>
              </a:lnSpc>
            </a:pPr>
            <a:r>
              <a:rPr lang="sv-SE" sz="2800" b="0" dirty="0"/>
              <a:t>ange kod 3940 9273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C8E5AAB9-9997-1C31-E624-C1DF6771DB32}"/>
              </a:ext>
            </a:extLst>
          </p:cNvPr>
          <p:cNvSpPr txBox="1"/>
          <p:nvPr/>
        </p:nvSpPr>
        <p:spPr>
          <a:xfrm>
            <a:off x="5182049" y="3332782"/>
            <a:ext cx="349368" cy="3651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sv-SE" dirty="0"/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CA38AA06-77B1-0436-314D-B16EFEE9B55E}"/>
              </a:ext>
            </a:extLst>
          </p:cNvPr>
          <p:cNvSpPr txBox="1"/>
          <p:nvPr/>
        </p:nvSpPr>
        <p:spPr>
          <a:xfrm>
            <a:off x="5182049" y="3708517"/>
            <a:ext cx="349368" cy="3651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sv-SE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CFFE7D10-E7F2-D29C-335D-79F2EAF6C8E9}"/>
              </a:ext>
            </a:extLst>
          </p:cNvPr>
          <p:cNvSpPr txBox="1"/>
          <p:nvPr/>
        </p:nvSpPr>
        <p:spPr>
          <a:xfrm>
            <a:off x="5182049" y="4459315"/>
            <a:ext cx="349368" cy="3651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sv-SE" dirty="0"/>
          </a:p>
        </p:txBody>
      </p:sp>
      <p:sp>
        <p:nvSpPr>
          <p:cNvPr id="18" name="Platshållare för innehåll 1">
            <a:extLst>
              <a:ext uri="{FF2B5EF4-FFF2-40B4-BE49-F238E27FC236}">
                <a16:creationId xmlns:a16="http://schemas.microsoft.com/office/drawing/2014/main" id="{827A1578-E8F2-9014-094E-709B2E5A80D0}"/>
              </a:ext>
            </a:extLst>
          </p:cNvPr>
          <p:cNvSpPr txBox="1">
            <a:spLocks/>
          </p:cNvSpPr>
          <p:nvPr/>
        </p:nvSpPr>
        <p:spPr>
          <a:xfrm flipH="1">
            <a:off x="7854928" y="4778305"/>
            <a:ext cx="4337072" cy="1049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br>
              <a:rPr lang="sv-SE" sz="2400" b="1" i="1" dirty="0">
                <a:solidFill>
                  <a:schemeClr val="accent1"/>
                </a:solidFill>
              </a:rPr>
            </a:br>
            <a:r>
              <a:rPr lang="sv-SE" sz="2400" b="1" i="1" dirty="0">
                <a:solidFill>
                  <a:schemeClr val="accent1"/>
                </a:solidFill>
              </a:rPr>
              <a:t> Vi önskar </a:t>
            </a:r>
            <a:r>
              <a:rPr lang="sv-SE" sz="2400" b="1" i="1" dirty="0"/>
              <a:t>er alla en </a:t>
            </a:r>
            <a:br>
              <a:rPr lang="sv-SE" sz="2400" b="1" i="1" dirty="0"/>
            </a:br>
            <a:r>
              <a:rPr lang="sv-SE" sz="2400" b="1" i="1" dirty="0"/>
              <a:t>underbar sommar! </a:t>
            </a:r>
            <a:br>
              <a:rPr lang="sv-SE" sz="2400" b="1" i="1" dirty="0"/>
            </a:br>
            <a:r>
              <a:rPr lang="sv-SE" sz="2400" b="1" dirty="0"/>
              <a:t>☀️💦🏖</a:t>
            </a:r>
            <a:br>
              <a:rPr lang="sv-SE" sz="2400" b="1" i="1" dirty="0"/>
            </a:br>
            <a:endParaRPr lang="sv-SE" b="1" dirty="0"/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BE657F27-9909-5936-5919-DA6FF51F1B8C}"/>
              </a:ext>
            </a:extLst>
          </p:cNvPr>
          <p:cNvSpPr txBox="1"/>
          <p:nvPr/>
        </p:nvSpPr>
        <p:spPr>
          <a:xfrm>
            <a:off x="1204785" y="3843341"/>
            <a:ext cx="349368" cy="3651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sv-SE" dirty="0"/>
              <a:t>✅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94F772F8-64AB-303D-D90D-76F61AB49678}"/>
              </a:ext>
            </a:extLst>
          </p:cNvPr>
          <p:cNvSpPr txBox="1"/>
          <p:nvPr/>
        </p:nvSpPr>
        <p:spPr>
          <a:xfrm>
            <a:off x="1201070" y="4229915"/>
            <a:ext cx="349368" cy="3651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sv-SE" dirty="0"/>
              <a:t>✅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4B6DE0B9-3480-5A47-BF2F-B12C4406D852}"/>
              </a:ext>
            </a:extLst>
          </p:cNvPr>
          <p:cNvSpPr txBox="1"/>
          <p:nvPr/>
        </p:nvSpPr>
        <p:spPr>
          <a:xfrm>
            <a:off x="1201070" y="4620809"/>
            <a:ext cx="349368" cy="3651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sv-SE" dirty="0"/>
              <a:t>✅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3C7693F9-05C8-CDEA-8739-134056A9A0B9}"/>
              </a:ext>
            </a:extLst>
          </p:cNvPr>
          <p:cNvSpPr txBox="1"/>
          <p:nvPr/>
        </p:nvSpPr>
        <p:spPr>
          <a:xfrm>
            <a:off x="4276476" y="3888892"/>
            <a:ext cx="349368" cy="36512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sv-SE" dirty="0"/>
              <a:t>✅</a:t>
            </a:r>
          </a:p>
        </p:txBody>
      </p:sp>
    </p:spTree>
    <p:extLst>
      <p:ext uri="{BB962C8B-B14F-4D97-AF65-F5344CB8AC3E}">
        <p14:creationId xmlns:p14="http://schemas.microsoft.com/office/powerpoint/2010/main" val="539354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3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ruta 17">
            <a:extLst>
              <a:ext uri="{FF2B5EF4-FFF2-40B4-BE49-F238E27FC236}">
                <a16:creationId xmlns:a16="http://schemas.microsoft.com/office/drawing/2014/main" id="{9744374B-4929-432A-A295-29074C814612}"/>
              </a:ext>
            </a:extLst>
          </p:cNvPr>
          <p:cNvSpPr txBox="1"/>
          <p:nvPr/>
        </p:nvSpPr>
        <p:spPr>
          <a:xfrm>
            <a:off x="3362630" y="4017454"/>
            <a:ext cx="9164546" cy="2551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sv-SE"/>
            </a:defPPr>
            <a:lvl1pPr marL="285750" indent="-180000">
              <a:buClr>
                <a:schemeClr val="accent1"/>
              </a:buClr>
              <a:buFont typeface="Arial" panose="020B0604020202020204" pitchFamily="34" charset="0"/>
              <a:buChar char="•"/>
              <a:defRPr sz="1400"/>
            </a:lvl1pPr>
          </a:lstStyle>
          <a:p>
            <a:r>
              <a:rPr lang="sv-SE" dirty="0"/>
              <a:t>Förvaltningen informerar om viktiga händelser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6C188DDA-2BC1-47A7-98B0-EB7B7609B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072630" cy="1149264"/>
          </a:xfrm>
        </p:spPr>
        <p:txBody>
          <a:bodyPr/>
          <a:lstStyle/>
          <a:p>
            <a:r>
              <a:rPr lang="sv-SE" sz="3600" dirty="0">
                <a:solidFill>
                  <a:schemeClr val="accent1"/>
                </a:solidFill>
              </a:rPr>
              <a:t>Syfte: </a:t>
            </a:r>
            <a:r>
              <a:rPr lang="sv-SE" sz="3600" dirty="0"/>
              <a:t>Koordinera och samla in behov, kanal för informations- och erfarenhetsutbyte </a:t>
            </a:r>
            <a:endParaRPr lang="sv-SE" dirty="0"/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2093F76B-92D2-4F34-BE47-3799228B2F89}"/>
              </a:ext>
            </a:extLst>
          </p:cNvPr>
          <p:cNvSpPr/>
          <p:nvPr/>
        </p:nvSpPr>
        <p:spPr>
          <a:xfrm>
            <a:off x="666776" y="4672775"/>
            <a:ext cx="2488334" cy="42618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/>
              <a:t>Spontana frågor?</a:t>
            </a:r>
          </a:p>
        </p:txBody>
      </p:sp>
      <p:sp>
        <p:nvSpPr>
          <p:cNvPr id="12" name="Rektangel: rundade hörn 11">
            <a:extLst>
              <a:ext uri="{FF2B5EF4-FFF2-40B4-BE49-F238E27FC236}">
                <a16:creationId xmlns:a16="http://schemas.microsoft.com/office/drawing/2014/main" id="{034303D6-16FE-40D0-AFBE-E810942BB87B}"/>
              </a:ext>
            </a:extLst>
          </p:cNvPr>
          <p:cNvSpPr/>
          <p:nvPr/>
        </p:nvSpPr>
        <p:spPr>
          <a:xfrm>
            <a:off x="666776" y="3915290"/>
            <a:ext cx="2488334" cy="42618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/>
              <a:t>Information från förvaltningen</a:t>
            </a:r>
          </a:p>
        </p:txBody>
      </p:sp>
      <p:sp>
        <p:nvSpPr>
          <p:cNvPr id="14" name="Rektangel: rundade hörn 13">
            <a:extLst>
              <a:ext uri="{FF2B5EF4-FFF2-40B4-BE49-F238E27FC236}">
                <a16:creationId xmlns:a16="http://schemas.microsoft.com/office/drawing/2014/main" id="{E92BAF11-B7F1-4282-A632-A3110BA309B0}"/>
              </a:ext>
            </a:extLst>
          </p:cNvPr>
          <p:cNvSpPr/>
          <p:nvPr/>
        </p:nvSpPr>
        <p:spPr>
          <a:xfrm>
            <a:off x="666776" y="3157805"/>
            <a:ext cx="2488335" cy="42618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Fördjupningsområde</a:t>
            </a:r>
          </a:p>
        </p:txBody>
      </p:sp>
      <p:sp>
        <p:nvSpPr>
          <p:cNvPr id="16" name="textruta 15">
            <a:extLst>
              <a:ext uri="{FF2B5EF4-FFF2-40B4-BE49-F238E27FC236}">
                <a16:creationId xmlns:a16="http://schemas.microsoft.com/office/drawing/2014/main" id="{8CA1B896-DB10-4B73-B44F-CF33F5FA2CE5}"/>
              </a:ext>
            </a:extLst>
          </p:cNvPr>
          <p:cNvSpPr txBox="1"/>
          <p:nvPr/>
        </p:nvSpPr>
        <p:spPr>
          <a:xfrm>
            <a:off x="3362630" y="4783928"/>
            <a:ext cx="8583566" cy="256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18000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1400" dirty="0"/>
              <a:t>Vi fångar upp frågor som uppstått under forumet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A62B49AB-A32F-4984-BF62-9768711D198F}"/>
              </a:ext>
            </a:extLst>
          </p:cNvPr>
          <p:cNvSpPr txBox="1"/>
          <p:nvPr/>
        </p:nvSpPr>
        <p:spPr>
          <a:xfrm>
            <a:off x="3362630" y="2514093"/>
            <a:ext cx="8583566" cy="22408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1800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1400" dirty="0"/>
              <a:t>Frågor och utmaningar som ni lyft inför forumet och önskar ta hjälp av era kollegor i övriga regioner</a:t>
            </a:r>
          </a:p>
        </p:txBody>
      </p:sp>
      <p:sp>
        <p:nvSpPr>
          <p:cNvPr id="23" name="textruta 22">
            <a:extLst>
              <a:ext uri="{FF2B5EF4-FFF2-40B4-BE49-F238E27FC236}">
                <a16:creationId xmlns:a16="http://schemas.microsoft.com/office/drawing/2014/main" id="{20D43A7C-C3BA-48D5-857C-E711DE7EED97}"/>
              </a:ext>
            </a:extLst>
          </p:cNvPr>
          <p:cNvSpPr txBox="1"/>
          <p:nvPr/>
        </p:nvSpPr>
        <p:spPr>
          <a:xfrm>
            <a:off x="3362630" y="3249536"/>
            <a:ext cx="8583566" cy="256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18000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1400" dirty="0"/>
              <a:t>Forumets huvudpunkt – vi diskuterar ett utvalt fördjupningsområde</a:t>
            </a:r>
          </a:p>
        </p:txBody>
      </p:sp>
      <p:sp>
        <p:nvSpPr>
          <p:cNvPr id="19" name="Rubrik 4">
            <a:extLst>
              <a:ext uri="{FF2B5EF4-FFF2-40B4-BE49-F238E27FC236}">
                <a16:creationId xmlns:a16="http://schemas.microsoft.com/office/drawing/2014/main" id="{4B5A0043-7CC7-DE4A-9D39-166741ECCCE1}"/>
              </a:ext>
            </a:extLst>
          </p:cNvPr>
          <p:cNvSpPr txBox="1">
            <a:spLocks/>
          </p:cNvSpPr>
          <p:nvPr/>
        </p:nvSpPr>
        <p:spPr>
          <a:xfrm>
            <a:off x="861259" y="1553563"/>
            <a:ext cx="2099368" cy="58371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/>
              <a:t>Stående agenda</a:t>
            </a:r>
          </a:p>
        </p:txBody>
      </p:sp>
      <p:sp>
        <p:nvSpPr>
          <p:cNvPr id="25" name="Rektangel: rundade hörn 7">
            <a:extLst>
              <a:ext uri="{FF2B5EF4-FFF2-40B4-BE49-F238E27FC236}">
                <a16:creationId xmlns:a16="http://schemas.microsoft.com/office/drawing/2014/main" id="{2E9381B1-6054-244B-B78E-662389D6443E}"/>
              </a:ext>
            </a:extLst>
          </p:cNvPr>
          <p:cNvSpPr/>
          <p:nvPr/>
        </p:nvSpPr>
        <p:spPr>
          <a:xfrm>
            <a:off x="666776" y="5430261"/>
            <a:ext cx="2488334" cy="42618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/>
              <a:t>Kommande forum</a:t>
            </a:r>
          </a:p>
        </p:txBody>
      </p:sp>
      <p:sp>
        <p:nvSpPr>
          <p:cNvPr id="26" name="textruta 25">
            <a:extLst>
              <a:ext uri="{FF2B5EF4-FFF2-40B4-BE49-F238E27FC236}">
                <a16:creationId xmlns:a16="http://schemas.microsoft.com/office/drawing/2014/main" id="{6565FA7D-1E5F-804C-B6FF-3F07422CD567}"/>
              </a:ext>
            </a:extLst>
          </p:cNvPr>
          <p:cNvSpPr txBox="1"/>
          <p:nvPr/>
        </p:nvSpPr>
        <p:spPr>
          <a:xfrm>
            <a:off x="3362630" y="5551846"/>
            <a:ext cx="8583566" cy="2565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18000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sv-SE" sz="1400" dirty="0"/>
              <a:t>Tidpunkt för kommande Användarforum</a:t>
            </a:r>
          </a:p>
        </p:txBody>
      </p:sp>
      <p:sp>
        <p:nvSpPr>
          <p:cNvPr id="27" name="Rektangel: rundade hörn 8">
            <a:extLst>
              <a:ext uri="{FF2B5EF4-FFF2-40B4-BE49-F238E27FC236}">
                <a16:creationId xmlns:a16="http://schemas.microsoft.com/office/drawing/2014/main" id="{7B723F55-C4F7-5743-B115-9A214646CB30}"/>
              </a:ext>
            </a:extLst>
          </p:cNvPr>
          <p:cNvSpPr/>
          <p:nvPr/>
        </p:nvSpPr>
        <p:spPr>
          <a:xfrm>
            <a:off x="666776" y="2400320"/>
            <a:ext cx="2488334" cy="42618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/>
              <a:t>Anmälda frågor från regionerna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53C871C8-3C1A-5E8A-AA7A-D084BC2F8E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3622" y="4339918"/>
            <a:ext cx="2363162" cy="1422804"/>
          </a:xfrm>
          <a:prstGeom prst="rect">
            <a:avLst/>
          </a:prstGeom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E4D0ED65-0D81-0B79-D154-DBE19256B234}"/>
              </a:ext>
            </a:extLst>
          </p:cNvPr>
          <p:cNvSpPr/>
          <p:nvPr/>
        </p:nvSpPr>
        <p:spPr>
          <a:xfrm>
            <a:off x="9036892" y="3506098"/>
            <a:ext cx="2976623" cy="2419109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ubrik 2">
            <a:extLst>
              <a:ext uri="{FF2B5EF4-FFF2-40B4-BE49-F238E27FC236}">
                <a16:creationId xmlns:a16="http://schemas.microsoft.com/office/drawing/2014/main" id="{D6047B6D-E510-67F4-6905-7645D0F83FAD}"/>
              </a:ext>
            </a:extLst>
          </p:cNvPr>
          <p:cNvSpPr txBox="1">
            <a:spLocks/>
          </p:cNvSpPr>
          <p:nvPr/>
        </p:nvSpPr>
        <p:spPr>
          <a:xfrm>
            <a:off x="9036891" y="3516307"/>
            <a:ext cx="2976623" cy="679938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7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sv-SE" sz="2800" b="0" dirty="0"/>
              <a:t>Öppna </a:t>
            </a:r>
            <a:r>
              <a:rPr lang="sv-SE" sz="2800" b="0" dirty="0">
                <a:hlinkClick r:id="rId4"/>
              </a:rPr>
              <a:t>www.menti.com</a:t>
            </a:r>
            <a:endParaRPr lang="sv-SE" sz="2800" b="0" dirty="0"/>
          </a:p>
          <a:p>
            <a:pPr>
              <a:lnSpc>
                <a:spcPct val="120000"/>
              </a:lnSpc>
            </a:pPr>
            <a:r>
              <a:rPr lang="sv-SE" sz="2800" b="0" dirty="0"/>
              <a:t>ange kod 3940 9273</a:t>
            </a:r>
          </a:p>
        </p:txBody>
      </p:sp>
      <p:sp>
        <p:nvSpPr>
          <p:cNvPr id="6" name="Oval pratbubbla 5">
            <a:extLst>
              <a:ext uri="{FF2B5EF4-FFF2-40B4-BE49-F238E27FC236}">
                <a16:creationId xmlns:a16="http://schemas.microsoft.com/office/drawing/2014/main" id="{2B437AC0-0280-86A6-08CC-3F3A65FACA12}"/>
              </a:ext>
            </a:extLst>
          </p:cNvPr>
          <p:cNvSpPr/>
          <p:nvPr/>
        </p:nvSpPr>
        <p:spPr>
          <a:xfrm>
            <a:off x="3941729" y="1479066"/>
            <a:ext cx="3259533" cy="788111"/>
          </a:xfrm>
          <a:prstGeom prst="wedgeEllipseCallout">
            <a:avLst>
              <a:gd name="adj1" fmla="val -81003"/>
              <a:gd name="adj2" fmla="val 186758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>
                <a:solidFill>
                  <a:schemeClr val="tx1"/>
                </a:solidFill>
              </a:rPr>
              <a:t>NAFS – nationella formulärmallar</a:t>
            </a:r>
          </a:p>
        </p:txBody>
      </p:sp>
      <p:sp>
        <p:nvSpPr>
          <p:cNvPr id="7" name="textruta 6">
            <a:extLst>
              <a:ext uri="{FF2B5EF4-FFF2-40B4-BE49-F238E27FC236}">
                <a16:creationId xmlns:a16="http://schemas.microsoft.com/office/drawing/2014/main" id="{5D7C9007-27BB-227E-266B-B8965AB43C37}"/>
              </a:ext>
            </a:extLst>
          </p:cNvPr>
          <p:cNvSpPr txBox="1"/>
          <p:nvPr/>
        </p:nvSpPr>
        <p:spPr>
          <a:xfrm>
            <a:off x="5508702" y="-57986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4918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D7E3992B-CF98-0145-B366-A9224158F45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Idag tar vi check-in på slutet</a:t>
            </a: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9EA6E761-0363-9447-BB33-FC0837EB8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Check-in: </a:t>
            </a:r>
            <a:r>
              <a:rPr lang="sv-SE" dirty="0"/>
              <a:t>Vad vill du ta upp idag?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119F5D84-2B34-324A-95C2-3B8274A658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21373" y="1581271"/>
            <a:ext cx="3971787" cy="2838329"/>
          </a:xfrm>
          <a:prstGeom prst="rect">
            <a:avLst/>
          </a:prstGeom>
        </p:spPr>
      </p:pic>
      <p:sp>
        <p:nvSpPr>
          <p:cNvPr id="4" name="Streckad höger 3">
            <a:extLst>
              <a:ext uri="{FF2B5EF4-FFF2-40B4-BE49-F238E27FC236}">
                <a16:creationId xmlns:a16="http://schemas.microsoft.com/office/drawing/2014/main" id="{2D7FF0B6-2467-984D-ABCA-41117960E7C5}"/>
              </a:ext>
            </a:extLst>
          </p:cNvPr>
          <p:cNvSpPr/>
          <p:nvPr/>
        </p:nvSpPr>
        <p:spPr>
          <a:xfrm rot="5400000">
            <a:off x="1343043" y="2990194"/>
            <a:ext cx="3358053" cy="1897117"/>
          </a:xfrm>
          <a:prstGeom prst="striped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5417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78BFAA20-A49D-CB41-90A4-2802423734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Frågor och utmaningar som ni lyft inför mötet och önskar ta hjälp av era kollegor i övriga regioner</a:t>
            </a:r>
          </a:p>
          <a:p>
            <a:pPr marL="0" indent="0">
              <a:buNone/>
            </a:pPr>
            <a:endParaRPr lang="sv-SE" dirty="0">
              <a:solidFill>
                <a:schemeClr val="accent1"/>
              </a:solidFill>
            </a:endParaRPr>
          </a:p>
          <a:p>
            <a:r>
              <a:rPr lang="sv-SE" dirty="0"/>
              <a:t>Inför nästa möte kan ni skicka in era frågor till </a:t>
            </a:r>
            <a:r>
              <a:rPr lang="sv-SE" dirty="0">
                <a:hlinkClick r:id="rId2"/>
              </a:rPr>
              <a:t>formularhantering@1177.se</a:t>
            </a:r>
            <a:r>
              <a:rPr lang="sv-SE" dirty="0"/>
              <a:t> </a:t>
            </a: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107B5D14-30E4-AF48-AA1F-DAE17839A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Anmälda </a:t>
            </a:r>
            <a:r>
              <a:rPr lang="sv-SE" dirty="0"/>
              <a:t>frågor från regionerna </a:t>
            </a:r>
          </a:p>
        </p:txBody>
      </p:sp>
      <p:pic>
        <p:nvPicPr>
          <p:cNvPr id="11" name="Picture 2" descr="Anmälda frågor från regionerna">
            <a:extLst>
              <a:ext uri="{FF2B5EF4-FFF2-40B4-BE49-F238E27FC236}">
                <a16:creationId xmlns:a16="http://schemas.microsoft.com/office/drawing/2014/main" id="{FA8AA9AA-1FBB-F443-AED7-AE43E6293D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8100" y="3186293"/>
            <a:ext cx="1870710" cy="1870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6690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2B439ADA-6284-DA4F-9A73-13B5AA99A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3186293"/>
            <a:ext cx="8229600" cy="485414"/>
          </a:xfrm>
        </p:spPr>
        <p:txBody>
          <a:bodyPr>
            <a:normAutofit/>
          </a:bodyPr>
          <a:lstStyle/>
          <a:p>
            <a:pPr algn="ctr"/>
            <a:r>
              <a:rPr lang="sv-SE" dirty="0">
                <a:solidFill>
                  <a:schemeClr val="accent1"/>
                </a:solidFill>
              </a:rPr>
              <a:t>Information</a:t>
            </a:r>
            <a:r>
              <a:rPr lang="sv-SE" dirty="0"/>
              <a:t> från förvaltningen 💡</a:t>
            </a:r>
          </a:p>
        </p:txBody>
      </p:sp>
    </p:spTree>
    <p:extLst>
      <p:ext uri="{BB962C8B-B14F-4D97-AF65-F5344CB8AC3E}">
        <p14:creationId xmlns:p14="http://schemas.microsoft.com/office/powerpoint/2010/main" val="3667139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809EC821-AAE8-8E03-06D4-A29005EDA7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Vi i förvaltningen är otroligt lättade över att vara klara med arbetet att flytta till ny driftsleverantör</a:t>
            </a:r>
          </a:p>
          <a:p>
            <a:endParaRPr lang="sv-SE" dirty="0"/>
          </a:p>
          <a:p>
            <a:pPr marL="0" indent="0">
              <a:buNone/>
            </a:pPr>
            <a:r>
              <a:rPr lang="sv-SE" dirty="0"/>
              <a:t>Nu kan arbetet med att färdigställa innevarande release slutföras:</a:t>
            </a:r>
          </a:p>
          <a:p>
            <a:r>
              <a:rPr lang="sv-SE" dirty="0"/>
              <a:t>”Formulär i ett flöde med andra e-tjänster”</a:t>
            </a:r>
          </a:p>
          <a:p>
            <a:pPr lvl="1"/>
            <a:r>
              <a:rPr lang="sv-SE" dirty="0"/>
              <a:t>Ett guidningsformulär innan exempelvis ”Skyddade tidstyper”, ”Egen provhantering”, ”Smittspårning”</a:t>
            </a:r>
          </a:p>
          <a:p>
            <a:r>
              <a:rPr lang="sv-SE" dirty="0"/>
              <a:t>Beräknat releasedatum är månadsskiftet augusti/september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BC9FA556-881C-EE5C-5003-E9A3986EEC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DC2AB-345F-4FFA-B9BD-B2A845E70329}" type="slidenum">
              <a:rPr lang="sv-SE" smtClean="0">
                <a:solidFill>
                  <a:prstClr val="white"/>
                </a:solidFill>
              </a:rPr>
              <a:pPr/>
              <a:t>6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48546564-31C9-27EC-C0F3-D111737784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Flytt  </a:t>
            </a:r>
            <a:r>
              <a:rPr lang="sv-SE" dirty="0"/>
              <a:t>till ny driftsleverantör 🌟KLAR🌟! (1 av 1)</a:t>
            </a:r>
          </a:p>
        </p:txBody>
      </p:sp>
    </p:spTree>
    <p:extLst>
      <p:ext uri="{BB962C8B-B14F-4D97-AF65-F5344CB8AC3E}">
        <p14:creationId xmlns:p14="http://schemas.microsoft.com/office/powerpoint/2010/main" val="39079624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6E00566A-DE9C-1941-A3A4-0A1CB9100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Aktivitets-</a:t>
            </a:r>
            <a:r>
              <a:rPr lang="sv-SE" dirty="0"/>
              <a:t> och tidplan 2023</a:t>
            </a:r>
            <a:endParaRPr lang="sv-SE" sz="2800" i="1" dirty="0"/>
          </a:p>
        </p:txBody>
      </p:sp>
      <p:sp>
        <p:nvSpPr>
          <p:cNvPr id="39" name="Rounded Rectangle 29">
            <a:extLst>
              <a:ext uri="{FF2B5EF4-FFF2-40B4-BE49-F238E27FC236}">
                <a16:creationId xmlns:a16="http://schemas.microsoft.com/office/drawing/2014/main" id="{A5605065-AC2B-1642-9AD8-98E670FCC094}"/>
              </a:ext>
            </a:extLst>
          </p:cNvPr>
          <p:cNvSpPr/>
          <p:nvPr/>
        </p:nvSpPr>
        <p:spPr bwMode="auto">
          <a:xfrm>
            <a:off x="1549776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100" b="1" kern="0" dirty="0" err="1">
                <a:solidFill>
                  <a:srgbClr val="FFFFFF"/>
                </a:solidFill>
                <a:cs typeface="Calibri" pitchFamily="34" charset="0"/>
              </a:rPr>
              <a:t>Februari</a:t>
            </a:r>
            <a:endParaRPr lang="en-GB" sz="1100" b="1" kern="0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40" name="Rounded Rectangle 32">
            <a:extLst>
              <a:ext uri="{FF2B5EF4-FFF2-40B4-BE49-F238E27FC236}">
                <a16:creationId xmlns:a16="http://schemas.microsoft.com/office/drawing/2014/main" id="{320908B1-3990-B94E-92BB-F0D14D279D1A}"/>
              </a:ext>
            </a:extLst>
          </p:cNvPr>
          <p:cNvSpPr/>
          <p:nvPr/>
        </p:nvSpPr>
        <p:spPr bwMode="auto">
          <a:xfrm>
            <a:off x="2463677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100" b="1" kern="0" dirty="0">
                <a:solidFill>
                  <a:srgbClr val="FFFFFF"/>
                </a:solidFill>
                <a:cs typeface="Calibri" pitchFamily="34" charset="0"/>
              </a:rPr>
              <a:t>Mars</a:t>
            </a:r>
          </a:p>
        </p:txBody>
      </p:sp>
      <p:sp>
        <p:nvSpPr>
          <p:cNvPr id="41" name="Rounded Rectangle 33">
            <a:extLst>
              <a:ext uri="{FF2B5EF4-FFF2-40B4-BE49-F238E27FC236}">
                <a16:creationId xmlns:a16="http://schemas.microsoft.com/office/drawing/2014/main" id="{E4EAAE4D-5704-4A4C-8F8C-9326F0F691EF}"/>
              </a:ext>
            </a:extLst>
          </p:cNvPr>
          <p:cNvSpPr/>
          <p:nvPr/>
        </p:nvSpPr>
        <p:spPr bwMode="auto">
          <a:xfrm>
            <a:off x="3377577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100" b="1" kern="0" dirty="0">
                <a:solidFill>
                  <a:srgbClr val="FFFFFF"/>
                </a:solidFill>
                <a:cs typeface="Calibri" pitchFamily="34" charset="0"/>
              </a:rPr>
              <a:t>April</a:t>
            </a:r>
          </a:p>
        </p:txBody>
      </p:sp>
      <p:sp>
        <p:nvSpPr>
          <p:cNvPr id="42" name="Rounded Rectangle 34">
            <a:extLst>
              <a:ext uri="{FF2B5EF4-FFF2-40B4-BE49-F238E27FC236}">
                <a16:creationId xmlns:a16="http://schemas.microsoft.com/office/drawing/2014/main" id="{66E0EEBE-B7BB-F14C-BE95-2A9C36A62763}"/>
              </a:ext>
            </a:extLst>
          </p:cNvPr>
          <p:cNvSpPr/>
          <p:nvPr/>
        </p:nvSpPr>
        <p:spPr bwMode="auto">
          <a:xfrm>
            <a:off x="4291477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100" b="1" kern="0" dirty="0">
                <a:solidFill>
                  <a:srgbClr val="FFFFFF"/>
                </a:solidFill>
                <a:cs typeface="Calibri" pitchFamily="34" charset="0"/>
              </a:rPr>
              <a:t>Maj</a:t>
            </a:r>
          </a:p>
        </p:txBody>
      </p:sp>
      <p:sp>
        <p:nvSpPr>
          <p:cNvPr id="43" name="Rounded Rectangle 35">
            <a:extLst>
              <a:ext uri="{FF2B5EF4-FFF2-40B4-BE49-F238E27FC236}">
                <a16:creationId xmlns:a16="http://schemas.microsoft.com/office/drawing/2014/main" id="{A862D0F3-993A-FF48-9A5F-4591E58F6EA5}"/>
              </a:ext>
            </a:extLst>
          </p:cNvPr>
          <p:cNvSpPr/>
          <p:nvPr/>
        </p:nvSpPr>
        <p:spPr bwMode="auto">
          <a:xfrm>
            <a:off x="5205378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100" b="1" kern="0" dirty="0" err="1">
                <a:solidFill>
                  <a:srgbClr val="FFFFFF"/>
                </a:solidFill>
                <a:cs typeface="Calibri" pitchFamily="34" charset="0"/>
              </a:rPr>
              <a:t>Juni</a:t>
            </a:r>
            <a:endParaRPr lang="en-GB" sz="1100" b="1" kern="0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44" name="Rounded Rectangle 36">
            <a:extLst>
              <a:ext uri="{FF2B5EF4-FFF2-40B4-BE49-F238E27FC236}">
                <a16:creationId xmlns:a16="http://schemas.microsoft.com/office/drawing/2014/main" id="{CDE58C0A-DE0E-8D4B-940E-7B2B33269EBD}"/>
              </a:ext>
            </a:extLst>
          </p:cNvPr>
          <p:cNvSpPr/>
          <p:nvPr/>
        </p:nvSpPr>
        <p:spPr bwMode="auto">
          <a:xfrm>
            <a:off x="6119278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100" b="1" kern="0" dirty="0" err="1">
                <a:solidFill>
                  <a:srgbClr val="FFFFFF"/>
                </a:solidFill>
                <a:cs typeface="Calibri" pitchFamily="34" charset="0"/>
              </a:rPr>
              <a:t>Juli</a:t>
            </a:r>
            <a:endParaRPr lang="en-GB" sz="1100" b="1" kern="0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45" name="Rounded Rectangle 37">
            <a:extLst>
              <a:ext uri="{FF2B5EF4-FFF2-40B4-BE49-F238E27FC236}">
                <a16:creationId xmlns:a16="http://schemas.microsoft.com/office/drawing/2014/main" id="{5CC38F11-76A8-4D4A-94F2-3AA348A37A44}"/>
              </a:ext>
            </a:extLst>
          </p:cNvPr>
          <p:cNvSpPr/>
          <p:nvPr/>
        </p:nvSpPr>
        <p:spPr bwMode="auto">
          <a:xfrm>
            <a:off x="7033178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100" b="1" kern="0" dirty="0" err="1">
                <a:solidFill>
                  <a:srgbClr val="FFFFFF"/>
                </a:solidFill>
                <a:cs typeface="Calibri" pitchFamily="34" charset="0"/>
              </a:rPr>
              <a:t>Augusti</a:t>
            </a:r>
            <a:endParaRPr lang="en-GB" sz="1100" b="1" kern="0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46" name="Rounded Rectangle 38">
            <a:extLst>
              <a:ext uri="{FF2B5EF4-FFF2-40B4-BE49-F238E27FC236}">
                <a16:creationId xmlns:a16="http://schemas.microsoft.com/office/drawing/2014/main" id="{28CC6732-3CA3-B745-BE14-E0CF10201B13}"/>
              </a:ext>
            </a:extLst>
          </p:cNvPr>
          <p:cNvSpPr/>
          <p:nvPr/>
        </p:nvSpPr>
        <p:spPr bwMode="auto">
          <a:xfrm>
            <a:off x="7947079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900" b="1" kern="0" dirty="0">
                <a:solidFill>
                  <a:srgbClr val="FFFFFF"/>
                </a:solidFill>
                <a:cs typeface="Calibri" pitchFamily="34" charset="0"/>
              </a:rPr>
              <a:t>September</a:t>
            </a:r>
          </a:p>
        </p:txBody>
      </p:sp>
      <p:sp>
        <p:nvSpPr>
          <p:cNvPr id="47" name="Rounded Rectangle 39">
            <a:extLst>
              <a:ext uri="{FF2B5EF4-FFF2-40B4-BE49-F238E27FC236}">
                <a16:creationId xmlns:a16="http://schemas.microsoft.com/office/drawing/2014/main" id="{C444C1C8-5294-C449-A7B6-8A3538F14E8E}"/>
              </a:ext>
            </a:extLst>
          </p:cNvPr>
          <p:cNvSpPr/>
          <p:nvPr/>
        </p:nvSpPr>
        <p:spPr bwMode="auto">
          <a:xfrm>
            <a:off x="8860979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1100" b="1" kern="0" dirty="0" err="1">
                <a:solidFill>
                  <a:srgbClr val="FFFFFF"/>
                </a:solidFill>
                <a:cs typeface="Calibri" pitchFamily="34" charset="0"/>
              </a:rPr>
              <a:t>Oktober</a:t>
            </a:r>
            <a:endParaRPr lang="en-GB" sz="1100" b="1" kern="0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48" name="Rounded Rectangle 40">
            <a:extLst>
              <a:ext uri="{FF2B5EF4-FFF2-40B4-BE49-F238E27FC236}">
                <a16:creationId xmlns:a16="http://schemas.microsoft.com/office/drawing/2014/main" id="{256BE71C-25A9-C149-B9CC-1BA96471E336}"/>
              </a:ext>
            </a:extLst>
          </p:cNvPr>
          <p:cNvSpPr/>
          <p:nvPr/>
        </p:nvSpPr>
        <p:spPr bwMode="auto">
          <a:xfrm>
            <a:off x="9774879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GB" sz="900" b="1" kern="0" dirty="0">
                <a:solidFill>
                  <a:srgbClr val="FFFFFF"/>
                </a:solidFill>
                <a:cs typeface="Calibri" pitchFamily="34" charset="0"/>
              </a:rPr>
              <a:t>November</a:t>
            </a:r>
          </a:p>
        </p:txBody>
      </p:sp>
      <p:sp>
        <p:nvSpPr>
          <p:cNvPr id="49" name="Rounded Rectangle 41">
            <a:extLst>
              <a:ext uri="{FF2B5EF4-FFF2-40B4-BE49-F238E27FC236}">
                <a16:creationId xmlns:a16="http://schemas.microsoft.com/office/drawing/2014/main" id="{04AFADDC-BFD9-EF48-8404-306EE7E40EDF}"/>
              </a:ext>
            </a:extLst>
          </p:cNvPr>
          <p:cNvSpPr/>
          <p:nvPr/>
        </p:nvSpPr>
        <p:spPr bwMode="auto">
          <a:xfrm>
            <a:off x="10688773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/>
          <a:p>
            <a:pPr algn="ctr"/>
            <a:r>
              <a:rPr lang="en-GB" sz="900" b="1" kern="0" dirty="0">
                <a:solidFill>
                  <a:srgbClr val="FFFFFF"/>
                </a:solidFill>
                <a:cs typeface="Calibri" pitchFamily="34" charset="0"/>
              </a:rPr>
              <a:t>December</a:t>
            </a:r>
          </a:p>
        </p:txBody>
      </p:sp>
      <p:sp>
        <p:nvSpPr>
          <p:cNvPr id="50" name="Rounded Rectangle 42">
            <a:extLst>
              <a:ext uri="{FF2B5EF4-FFF2-40B4-BE49-F238E27FC236}">
                <a16:creationId xmlns:a16="http://schemas.microsoft.com/office/drawing/2014/main" id="{C66D9A07-F88E-AF43-B789-2297B67B222C}"/>
              </a:ext>
            </a:extLst>
          </p:cNvPr>
          <p:cNvSpPr/>
          <p:nvPr/>
        </p:nvSpPr>
        <p:spPr bwMode="auto">
          <a:xfrm>
            <a:off x="635876" y="1653351"/>
            <a:ext cx="867352" cy="310613"/>
          </a:xfrm>
          <a:prstGeom prst="round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84309" tIns="42154" rIns="84309" bIns="42154" anchor="ctr"/>
          <a:lstStyle/>
          <a:p>
            <a:pPr algn="ctr"/>
            <a:r>
              <a:rPr lang="en-GB" sz="1100" b="1" kern="0" dirty="0" err="1">
                <a:solidFill>
                  <a:srgbClr val="FFFFFF"/>
                </a:solidFill>
                <a:cs typeface="Calibri" pitchFamily="34" charset="0"/>
              </a:rPr>
              <a:t>Januari</a:t>
            </a:r>
            <a:endParaRPr lang="en-GB" sz="1100" b="1" kern="0" dirty="0">
              <a:solidFill>
                <a:srgbClr val="FFFFFF"/>
              </a:solidFill>
              <a:cs typeface="Calibri" pitchFamily="34" charset="0"/>
            </a:endParaRPr>
          </a:p>
        </p:txBody>
      </p:sp>
      <p:sp>
        <p:nvSpPr>
          <p:cNvPr id="52" name="Rectangle 52">
            <a:extLst>
              <a:ext uri="{FF2B5EF4-FFF2-40B4-BE49-F238E27FC236}">
                <a16:creationId xmlns:a16="http://schemas.microsoft.com/office/drawing/2014/main" id="{7155CBD8-25CE-8B48-A1FE-B2B61433CF83}"/>
              </a:ext>
            </a:extLst>
          </p:cNvPr>
          <p:cNvSpPr/>
          <p:nvPr/>
        </p:nvSpPr>
        <p:spPr bwMode="auto">
          <a:xfrm>
            <a:off x="635876" y="2231975"/>
            <a:ext cx="10911418" cy="113133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0" cap="flat" cmpd="sng" algn="ctr">
            <a:noFill/>
            <a:prstDash val="solid"/>
          </a:ln>
          <a:effectLst/>
        </p:spPr>
        <p:txBody>
          <a:bodyPr lIns="84406" tIns="16881" rIns="84309" bIns="42154"/>
          <a:lstStyle>
            <a:defPPr>
              <a:defRPr lang="sv-S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50" kern="0" dirty="0">
              <a:solidFill>
                <a:sysClr val="windowText" lastClr="000000"/>
              </a:solidFill>
              <a:cs typeface="Calibri" pitchFamily="34" charset="0"/>
            </a:endParaRPr>
          </a:p>
        </p:txBody>
      </p:sp>
      <p:sp>
        <p:nvSpPr>
          <p:cNvPr id="53" name="Rektangel 52">
            <a:extLst>
              <a:ext uri="{FF2B5EF4-FFF2-40B4-BE49-F238E27FC236}">
                <a16:creationId xmlns:a16="http://schemas.microsoft.com/office/drawing/2014/main" id="{E7D01B1A-EBDC-3142-80D6-A1B9CC84A348}"/>
              </a:ext>
            </a:extLst>
          </p:cNvPr>
          <p:cNvSpPr/>
          <p:nvPr/>
        </p:nvSpPr>
        <p:spPr>
          <a:xfrm>
            <a:off x="5512141" y="2413278"/>
            <a:ext cx="2029017" cy="583295"/>
          </a:xfrm>
          <a:prstGeom prst="rect">
            <a:avLst/>
          </a:prstGeom>
          <a:pattFill prst="ltUpDiag">
            <a:fgClr>
              <a:srgbClr val="FF0000"/>
            </a:fgClr>
            <a:bgClr>
              <a:schemeClr val="bg1"/>
            </a:bgClr>
          </a:patt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200" dirty="0">
                <a:solidFill>
                  <a:schemeClr val="tx1"/>
                </a:solidFill>
              </a:rPr>
              <a:t>Förändringsstopp </a:t>
            </a:r>
          </a:p>
        </p:txBody>
      </p:sp>
      <p:sp>
        <p:nvSpPr>
          <p:cNvPr id="54" name="5-udd 53">
            <a:extLst>
              <a:ext uri="{FF2B5EF4-FFF2-40B4-BE49-F238E27FC236}">
                <a16:creationId xmlns:a16="http://schemas.microsoft.com/office/drawing/2014/main" id="{C5CAFEB2-AA56-CA40-913C-8CD565585084}"/>
              </a:ext>
            </a:extLst>
          </p:cNvPr>
          <p:cNvSpPr/>
          <p:nvPr/>
        </p:nvSpPr>
        <p:spPr>
          <a:xfrm>
            <a:off x="10478223" y="2493337"/>
            <a:ext cx="328015" cy="348842"/>
          </a:xfrm>
          <a:prstGeom prst="star5">
            <a:avLst/>
          </a:prstGeom>
          <a:solidFill>
            <a:srgbClr val="FFC000"/>
          </a:solidFill>
          <a:ln w="31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5" name="Rektangel 54">
            <a:extLst>
              <a:ext uri="{FF2B5EF4-FFF2-40B4-BE49-F238E27FC236}">
                <a16:creationId xmlns:a16="http://schemas.microsoft.com/office/drawing/2014/main" id="{3E33F2FA-A9C5-314D-B023-9BC4E81C6F15}"/>
              </a:ext>
            </a:extLst>
          </p:cNvPr>
          <p:cNvSpPr/>
          <p:nvPr/>
        </p:nvSpPr>
        <p:spPr>
          <a:xfrm>
            <a:off x="10435912" y="2824704"/>
            <a:ext cx="47801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kern="0" dirty="0">
                <a:solidFill>
                  <a:sysClr val="windowText" lastClr="000000"/>
                </a:solidFill>
                <a:cs typeface="Calibri" pitchFamily="34" charset="0"/>
              </a:rPr>
              <a:t>23.04</a:t>
            </a:r>
            <a:endParaRPr lang="sv-SE" sz="900" dirty="0"/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EA880DF8-8B30-0146-BA73-E950FAFB0C14}"/>
              </a:ext>
            </a:extLst>
          </p:cNvPr>
          <p:cNvSpPr/>
          <p:nvPr/>
        </p:nvSpPr>
        <p:spPr>
          <a:xfrm>
            <a:off x="11082224" y="2406704"/>
            <a:ext cx="451157" cy="583295"/>
          </a:xfrm>
          <a:prstGeom prst="rect">
            <a:avLst/>
          </a:prstGeom>
          <a:pattFill prst="ltUpDiag">
            <a:fgClr>
              <a:srgbClr val="FF0000"/>
            </a:fgClr>
            <a:bgClr>
              <a:schemeClr val="bg1"/>
            </a:bgClr>
          </a:patt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400" dirty="0">
              <a:solidFill>
                <a:schemeClr val="tx1"/>
              </a:solidFill>
            </a:endParaRPr>
          </a:p>
        </p:txBody>
      </p:sp>
      <p:sp>
        <p:nvSpPr>
          <p:cNvPr id="64" name="5-udd 63">
            <a:extLst>
              <a:ext uri="{FF2B5EF4-FFF2-40B4-BE49-F238E27FC236}">
                <a16:creationId xmlns:a16="http://schemas.microsoft.com/office/drawing/2014/main" id="{7942DD6D-0AB0-FB47-80A4-AD9ADF77333C}"/>
              </a:ext>
            </a:extLst>
          </p:cNvPr>
          <p:cNvSpPr/>
          <p:nvPr/>
        </p:nvSpPr>
        <p:spPr>
          <a:xfrm>
            <a:off x="4935174" y="2625811"/>
            <a:ext cx="328015" cy="348842"/>
          </a:xfrm>
          <a:prstGeom prst="star5">
            <a:avLst/>
          </a:prstGeom>
          <a:solidFill>
            <a:srgbClr val="FFC000"/>
          </a:solidFill>
          <a:ln w="3175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5" name="Rektangel 64">
            <a:extLst>
              <a:ext uri="{FF2B5EF4-FFF2-40B4-BE49-F238E27FC236}">
                <a16:creationId xmlns:a16="http://schemas.microsoft.com/office/drawing/2014/main" id="{10B33700-F76F-664B-A3B4-A15A0F5E68E2}"/>
              </a:ext>
            </a:extLst>
          </p:cNvPr>
          <p:cNvSpPr/>
          <p:nvPr/>
        </p:nvSpPr>
        <p:spPr>
          <a:xfrm>
            <a:off x="4892864" y="2957178"/>
            <a:ext cx="47801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kern="0" dirty="0">
                <a:solidFill>
                  <a:sysClr val="windowText" lastClr="000000"/>
                </a:solidFill>
                <a:cs typeface="Calibri" pitchFamily="34" charset="0"/>
              </a:rPr>
              <a:t>23.02</a:t>
            </a:r>
            <a:endParaRPr lang="sv-SE" sz="900" dirty="0"/>
          </a:p>
        </p:txBody>
      </p:sp>
      <p:sp>
        <p:nvSpPr>
          <p:cNvPr id="56" name="textruta 55">
            <a:extLst>
              <a:ext uri="{FF2B5EF4-FFF2-40B4-BE49-F238E27FC236}">
                <a16:creationId xmlns:a16="http://schemas.microsoft.com/office/drawing/2014/main" id="{A5DC27B8-823E-1346-85CB-DED8CCF25A94}"/>
              </a:ext>
            </a:extLst>
          </p:cNvPr>
          <p:cNvSpPr txBox="1"/>
          <p:nvPr/>
        </p:nvSpPr>
        <p:spPr>
          <a:xfrm>
            <a:off x="3166535" y="4674723"/>
            <a:ext cx="294806" cy="3290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sv-SE" dirty="0"/>
          </a:p>
        </p:txBody>
      </p:sp>
      <p:sp>
        <p:nvSpPr>
          <p:cNvPr id="38" name="Rundad rektangulär pratbubbla 37">
            <a:extLst>
              <a:ext uri="{FF2B5EF4-FFF2-40B4-BE49-F238E27FC236}">
                <a16:creationId xmlns:a16="http://schemas.microsoft.com/office/drawing/2014/main" id="{B7617B2F-995C-524D-9756-81ACFBD37887}"/>
              </a:ext>
            </a:extLst>
          </p:cNvPr>
          <p:cNvSpPr/>
          <p:nvPr/>
        </p:nvSpPr>
        <p:spPr>
          <a:xfrm>
            <a:off x="4230043" y="4114306"/>
            <a:ext cx="1803657" cy="719375"/>
          </a:xfrm>
          <a:prstGeom prst="wedgeRoundRectCallout">
            <a:avLst>
              <a:gd name="adj1" fmla="val -2869"/>
              <a:gd name="adj2" fmla="val -184857"/>
              <a:gd name="adj3" fmla="val 16667"/>
            </a:avLst>
          </a:prstGeom>
          <a:solidFill>
            <a:schemeClr val="accent1">
              <a:alpha val="9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err="1"/>
              <a:t>Migrering</a:t>
            </a:r>
            <a:r>
              <a:rPr lang="sv-SE" sz="1600" dirty="0"/>
              <a:t> till ny driftsleverantör</a:t>
            </a:r>
          </a:p>
        </p:txBody>
      </p:sp>
      <p:sp>
        <p:nvSpPr>
          <p:cNvPr id="57" name="5-udd 56">
            <a:extLst>
              <a:ext uri="{FF2B5EF4-FFF2-40B4-BE49-F238E27FC236}">
                <a16:creationId xmlns:a16="http://schemas.microsoft.com/office/drawing/2014/main" id="{44AED40D-E2A2-F04C-8E91-C91A8B23F5BE}"/>
              </a:ext>
            </a:extLst>
          </p:cNvPr>
          <p:cNvSpPr/>
          <p:nvPr/>
        </p:nvSpPr>
        <p:spPr>
          <a:xfrm>
            <a:off x="7797078" y="2493337"/>
            <a:ext cx="328015" cy="348842"/>
          </a:xfrm>
          <a:prstGeom prst="star5">
            <a:avLst/>
          </a:prstGeom>
          <a:solidFill>
            <a:srgbClr val="FFC000"/>
          </a:solidFill>
          <a:ln w="3175">
            <a:solidFill>
              <a:schemeClr val="tx2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3" name="Rektangel 62">
            <a:extLst>
              <a:ext uri="{FF2B5EF4-FFF2-40B4-BE49-F238E27FC236}">
                <a16:creationId xmlns:a16="http://schemas.microsoft.com/office/drawing/2014/main" id="{F1299D3F-292D-3147-A0BF-813E5CD7A8CA}"/>
              </a:ext>
            </a:extLst>
          </p:cNvPr>
          <p:cNvSpPr/>
          <p:nvPr/>
        </p:nvSpPr>
        <p:spPr>
          <a:xfrm>
            <a:off x="7760757" y="2824704"/>
            <a:ext cx="47801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kern="0" dirty="0">
                <a:solidFill>
                  <a:sysClr val="windowText" lastClr="000000"/>
                </a:solidFill>
                <a:cs typeface="Calibri" pitchFamily="34" charset="0"/>
              </a:rPr>
              <a:t>23.03</a:t>
            </a:r>
            <a:endParaRPr lang="sv-SE" sz="900" dirty="0"/>
          </a:p>
        </p:txBody>
      </p:sp>
      <p:sp>
        <p:nvSpPr>
          <p:cNvPr id="7" name="Rundad rektangulär pratbubbla 6">
            <a:extLst>
              <a:ext uri="{FF2B5EF4-FFF2-40B4-BE49-F238E27FC236}">
                <a16:creationId xmlns:a16="http://schemas.microsoft.com/office/drawing/2014/main" id="{CB1E613A-9AA1-AA2B-CE04-06C98ECF9363}"/>
              </a:ext>
            </a:extLst>
          </p:cNvPr>
          <p:cNvSpPr/>
          <p:nvPr/>
        </p:nvSpPr>
        <p:spPr>
          <a:xfrm>
            <a:off x="6154346" y="4103862"/>
            <a:ext cx="2564781" cy="771634"/>
          </a:xfrm>
          <a:prstGeom prst="wedgeRoundRectCallout">
            <a:avLst>
              <a:gd name="adj1" fmla="val 20451"/>
              <a:gd name="adj2" fmla="val -181741"/>
              <a:gd name="adj3" fmla="val 16667"/>
            </a:avLst>
          </a:prstGeom>
          <a:solidFill>
            <a:schemeClr val="accent1">
              <a:alpha val="9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/>
              <a:t>Formulär i ett flöde med andra e-tjänster</a:t>
            </a:r>
          </a:p>
        </p:txBody>
      </p:sp>
      <p:sp>
        <p:nvSpPr>
          <p:cNvPr id="9" name="Rundad rektangulär pratbubbla 8">
            <a:extLst>
              <a:ext uri="{FF2B5EF4-FFF2-40B4-BE49-F238E27FC236}">
                <a16:creationId xmlns:a16="http://schemas.microsoft.com/office/drawing/2014/main" id="{6BD424AC-9FE3-8C81-0C17-064511F00762}"/>
              </a:ext>
            </a:extLst>
          </p:cNvPr>
          <p:cNvSpPr/>
          <p:nvPr/>
        </p:nvSpPr>
        <p:spPr>
          <a:xfrm>
            <a:off x="9624996" y="5204649"/>
            <a:ext cx="2362483" cy="830213"/>
          </a:xfrm>
          <a:prstGeom prst="wedgeRoundRectCallout">
            <a:avLst>
              <a:gd name="adj1" fmla="val 52894"/>
              <a:gd name="adj2" fmla="val -311116"/>
              <a:gd name="adj3" fmla="val 16667"/>
            </a:avLst>
          </a:prstGeom>
          <a:solidFill>
            <a:schemeClr val="accent1">
              <a:alpha val="9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/>
              <a:t>Grafer, presentation av beräkningar i besvarade formulär.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A0BA06C-831D-2F34-B859-D7E740837E87}"/>
              </a:ext>
            </a:extLst>
          </p:cNvPr>
          <p:cNvSpPr/>
          <p:nvPr/>
        </p:nvSpPr>
        <p:spPr>
          <a:xfrm>
            <a:off x="635876" y="2413278"/>
            <a:ext cx="458637" cy="583295"/>
          </a:xfrm>
          <a:prstGeom prst="rect">
            <a:avLst/>
          </a:prstGeom>
          <a:pattFill prst="ltUpDiag">
            <a:fgClr>
              <a:srgbClr val="FF0000"/>
            </a:fgClr>
            <a:bgClr>
              <a:schemeClr val="bg1"/>
            </a:bgClr>
          </a:patt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6800" rIns="0" rtlCol="0" anchor="ctr"/>
          <a:lstStyle/>
          <a:p>
            <a:pPr algn="ctr"/>
            <a:r>
              <a:rPr lang="sv-SE" sz="1200" dirty="0">
                <a:solidFill>
                  <a:schemeClr val="tx1"/>
                </a:solidFill>
              </a:rPr>
              <a:t>9 jan 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925ADABA-4C37-D30D-55CB-2A0A1547C4F6}"/>
              </a:ext>
            </a:extLst>
          </p:cNvPr>
          <p:cNvSpPr txBox="1"/>
          <p:nvPr/>
        </p:nvSpPr>
        <p:spPr>
          <a:xfrm rot="601726">
            <a:off x="8859371" y="519231"/>
            <a:ext cx="2619993" cy="746009"/>
          </a:xfrm>
          <a:prstGeom prst="rect">
            <a:avLst/>
          </a:prstGeom>
          <a:solidFill>
            <a:schemeClr val="tx2">
              <a:lumMod val="20000"/>
              <a:lumOff val="80000"/>
              <a:alpha val="22852"/>
            </a:schemeClr>
          </a:solidFill>
          <a:ln>
            <a:solidFill>
              <a:schemeClr val="tx2"/>
            </a:solidFill>
            <a:prstDash val="dash"/>
          </a:ln>
        </p:spPr>
        <p:txBody>
          <a:bodyPr wrap="none" lIns="0" tIns="0" rIns="0" bIns="0" rtlCol="0">
            <a:noAutofit/>
          </a:bodyPr>
          <a:lstStyle/>
          <a:p>
            <a:pPr algn="ctr"/>
            <a:br>
              <a:rPr lang="sv-SE" dirty="0">
                <a:solidFill>
                  <a:schemeClr val="tx2"/>
                </a:solidFill>
              </a:rPr>
            </a:br>
            <a:r>
              <a:rPr lang="sv-SE" dirty="0">
                <a:solidFill>
                  <a:schemeClr val="tx2"/>
                </a:solidFill>
              </a:rPr>
              <a:t>Uppdaterad 2023-06-14</a:t>
            </a:r>
          </a:p>
        </p:txBody>
      </p:sp>
      <p:sp>
        <p:nvSpPr>
          <p:cNvPr id="3" name="5-udd 2">
            <a:extLst>
              <a:ext uri="{FF2B5EF4-FFF2-40B4-BE49-F238E27FC236}">
                <a16:creationId xmlns:a16="http://schemas.microsoft.com/office/drawing/2014/main" id="{63C0EC8A-7BB0-E560-5183-0406DE135A9C}"/>
              </a:ext>
            </a:extLst>
          </p:cNvPr>
          <p:cNvSpPr/>
          <p:nvPr/>
        </p:nvSpPr>
        <p:spPr>
          <a:xfrm>
            <a:off x="3718424" y="2620216"/>
            <a:ext cx="328015" cy="348842"/>
          </a:xfrm>
          <a:prstGeom prst="star5">
            <a:avLst/>
          </a:prstGeom>
          <a:solidFill>
            <a:srgbClr val="FFC000"/>
          </a:solidFill>
          <a:ln w="3175">
            <a:solidFill>
              <a:schemeClr val="tx2">
                <a:lumMod val="7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EC9EA007-86D3-0F33-DD4F-97D05F860662}"/>
              </a:ext>
            </a:extLst>
          </p:cNvPr>
          <p:cNvSpPr/>
          <p:nvPr/>
        </p:nvSpPr>
        <p:spPr>
          <a:xfrm>
            <a:off x="3682103" y="2951583"/>
            <a:ext cx="47801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kern="0" dirty="0">
                <a:solidFill>
                  <a:sysClr val="windowText" lastClr="000000"/>
                </a:solidFill>
                <a:cs typeface="Calibri" pitchFamily="34" charset="0"/>
              </a:rPr>
              <a:t>23.01</a:t>
            </a:r>
            <a:endParaRPr lang="sv-SE" sz="900" dirty="0"/>
          </a:p>
        </p:txBody>
      </p:sp>
      <p:sp>
        <p:nvSpPr>
          <p:cNvPr id="10" name="Rundad rektangulär pratbubbla 9">
            <a:extLst>
              <a:ext uri="{FF2B5EF4-FFF2-40B4-BE49-F238E27FC236}">
                <a16:creationId xmlns:a16="http://schemas.microsoft.com/office/drawing/2014/main" id="{D098A341-FD45-720C-1CBB-65A45478E173}"/>
              </a:ext>
            </a:extLst>
          </p:cNvPr>
          <p:cNvSpPr/>
          <p:nvPr/>
        </p:nvSpPr>
        <p:spPr>
          <a:xfrm>
            <a:off x="746426" y="4114307"/>
            <a:ext cx="2564781" cy="771634"/>
          </a:xfrm>
          <a:prstGeom prst="wedgeRoundRectCallout">
            <a:avLst>
              <a:gd name="adj1" fmla="val 67518"/>
              <a:gd name="adj2" fmla="val -180954"/>
              <a:gd name="adj3" fmla="val 16667"/>
            </a:avLst>
          </a:prstGeom>
          <a:solidFill>
            <a:schemeClr val="accent1">
              <a:alpha val="9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rgbClr val="FFC000"/>
                </a:solidFill>
              </a:rPr>
              <a:t>NY!</a:t>
            </a:r>
            <a:r>
              <a:rPr lang="sv-SE" sz="1600" dirty="0"/>
              <a:t> Media-filer från TEST tas bort vid import i PROD</a:t>
            </a:r>
          </a:p>
        </p:txBody>
      </p:sp>
      <p:sp>
        <p:nvSpPr>
          <p:cNvPr id="12" name="Rundad rektangulär pratbubbla 11">
            <a:extLst>
              <a:ext uri="{FF2B5EF4-FFF2-40B4-BE49-F238E27FC236}">
                <a16:creationId xmlns:a16="http://schemas.microsoft.com/office/drawing/2014/main" id="{BE2E0A41-AAF2-695C-BD56-C65B0E182718}"/>
              </a:ext>
            </a:extLst>
          </p:cNvPr>
          <p:cNvSpPr/>
          <p:nvPr/>
        </p:nvSpPr>
        <p:spPr>
          <a:xfrm>
            <a:off x="9153521" y="4114306"/>
            <a:ext cx="2564781" cy="771635"/>
          </a:xfrm>
          <a:prstGeom prst="wedgeRoundRectCallout">
            <a:avLst>
              <a:gd name="adj1" fmla="val 6557"/>
              <a:gd name="adj2" fmla="val -190236"/>
              <a:gd name="adj3" fmla="val 16667"/>
            </a:avLst>
          </a:prstGeom>
          <a:solidFill>
            <a:schemeClr val="accent1">
              <a:alpha val="9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/>
              <a:t>Förbättringar i ”Gemensamma mallar”</a:t>
            </a:r>
          </a:p>
        </p:txBody>
      </p:sp>
    </p:spTree>
    <p:extLst>
      <p:ext uri="{BB962C8B-B14F-4D97-AF65-F5344CB8AC3E}">
        <p14:creationId xmlns:p14="http://schemas.microsoft.com/office/powerpoint/2010/main" val="26813101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2B439ADA-6284-DA4F-9A73-13B5AA99AD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3186293"/>
            <a:ext cx="8229600" cy="485414"/>
          </a:xfrm>
        </p:spPr>
        <p:txBody>
          <a:bodyPr>
            <a:normAutofit fontScale="90000"/>
          </a:bodyPr>
          <a:lstStyle/>
          <a:p>
            <a:pPr algn="ctr"/>
            <a:r>
              <a:rPr lang="sv-SE" dirty="0">
                <a:solidFill>
                  <a:schemeClr val="accent1"/>
                </a:solidFill>
              </a:rPr>
              <a:t>Fördjupningsområde </a:t>
            </a:r>
            <a:r>
              <a:rPr lang="sv-SE" dirty="0"/>
              <a:t>🔎</a:t>
            </a:r>
            <a:br>
              <a:rPr lang="sv-SE" dirty="0">
                <a:solidFill>
                  <a:schemeClr val="accent1"/>
                </a:solidFill>
              </a:rPr>
            </a:br>
            <a:br>
              <a:rPr lang="sv-SE" dirty="0">
                <a:solidFill>
                  <a:schemeClr val="accent1"/>
                </a:solidFill>
              </a:rPr>
            </a:br>
            <a:r>
              <a:rPr lang="sv-SE" sz="2700" i="1" dirty="0"/>
              <a:t>forumets huvudpunkt – vi diskuterar ett utvalt fördjupningsområde</a:t>
            </a:r>
            <a:endParaRPr lang="sv-SE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3718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B7D3AB1E-E4C1-F5D2-52E3-FE7877D779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En skalbar insamlingstjänst som möjliggör interaktion mellan behandlare och patient i direkt anslutning till </a:t>
            </a:r>
            <a:r>
              <a:rPr lang="sv-SE" dirty="0" err="1"/>
              <a:t>vårdmötet</a:t>
            </a:r>
            <a:r>
              <a:rPr lang="sv-SE" dirty="0"/>
              <a:t> – under, inför eller efter</a:t>
            </a:r>
          </a:p>
          <a:p>
            <a:r>
              <a:rPr lang="sv-SE" dirty="0"/>
              <a:t>Skapa förutsättningar för verksamheter att själva initiera undersökningar</a:t>
            </a:r>
          </a:p>
          <a:p>
            <a:r>
              <a:rPr lang="sv-SE" dirty="0"/>
              <a:t>Säkerställa effektiv och säker hantering och lagring av data samt förutsättningar för jämförelser</a:t>
            </a:r>
          </a:p>
          <a:p>
            <a:r>
              <a:rPr lang="sv-SE" dirty="0"/>
              <a:t>Säkerställa gemensam systematisk omvärldsbevakning, kunskapsutveckling och förvaltning på området</a:t>
            </a:r>
          </a:p>
          <a:p>
            <a:endParaRPr lang="sv-SE" dirty="0"/>
          </a:p>
          <a:p>
            <a:r>
              <a:rPr lang="sv-SE" dirty="0"/>
              <a:t>Peder Hofman-Bang berättar mer 📣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6CDE2C1-C6E1-DCE5-1882-85CE33F16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BDC2AB-345F-4FFA-B9BD-B2A845E70329}" type="slidenum">
              <a:rPr lang="sv-SE" smtClean="0">
                <a:solidFill>
                  <a:prstClr val="white"/>
                </a:solidFill>
              </a:rPr>
              <a:pPr/>
              <a:t>9</a:t>
            </a:fld>
            <a:endParaRPr lang="sv-SE">
              <a:solidFill>
                <a:prstClr val="white"/>
              </a:solidFill>
            </a:endParaRPr>
          </a:p>
        </p:txBody>
      </p:sp>
      <p:sp>
        <p:nvSpPr>
          <p:cNvPr id="5" name="Rubrik 4">
            <a:extLst>
              <a:ext uri="{FF2B5EF4-FFF2-40B4-BE49-F238E27FC236}">
                <a16:creationId xmlns:a16="http://schemas.microsoft.com/office/drawing/2014/main" id="{3A99F196-17AF-C06B-32EC-2F40917E6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NAFS </a:t>
            </a:r>
            <a:r>
              <a:rPr lang="sv-SE" dirty="0"/>
              <a:t>- Nationell tjänst för insamling av patientrapporterade data </a:t>
            </a:r>
          </a:p>
        </p:txBody>
      </p:sp>
    </p:spTree>
    <p:extLst>
      <p:ext uri="{BB962C8B-B14F-4D97-AF65-F5344CB8AC3E}">
        <p14:creationId xmlns:p14="http://schemas.microsoft.com/office/powerpoint/2010/main" val="16862502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8pWEAipNB.83_P_hIiw"/>
</p:tagLst>
</file>

<file path=ppt/theme/theme1.xml><?xml version="1.0" encoding="utf-8"?>
<a:theme xmlns:a="http://schemas.openxmlformats.org/drawingml/2006/main" name="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2.xml><?xml version="1.0" encoding="utf-8"?>
<a:theme xmlns:a="http://schemas.openxmlformats.org/drawingml/2006/main" name="QRC-ppt mall_2020">
  <a:themeElements>
    <a:clrScheme name="Anpassat 17">
      <a:dk1>
        <a:sysClr val="windowText" lastClr="000000"/>
      </a:dk1>
      <a:lt1>
        <a:sysClr val="window" lastClr="FFFFFF"/>
      </a:lt1>
      <a:dk2>
        <a:srgbClr val="FFD962"/>
      </a:dk2>
      <a:lt2>
        <a:srgbClr val="B2B1A7"/>
      </a:lt2>
      <a:accent1>
        <a:srgbClr val="48722D"/>
      </a:accent1>
      <a:accent2>
        <a:srgbClr val="87B726"/>
      </a:accent2>
      <a:accent3>
        <a:srgbClr val="005F79"/>
      </a:accent3>
      <a:accent4>
        <a:srgbClr val="F28E00"/>
      </a:accent4>
      <a:accent5>
        <a:srgbClr val="0087B2"/>
      </a:accent5>
      <a:accent6>
        <a:srgbClr val="FFD962"/>
      </a:accent6>
      <a:hlink>
        <a:srgbClr val="005F79"/>
      </a:hlink>
      <a:folHlink>
        <a:srgbClr val="0087B2"/>
      </a:folHlink>
    </a:clrScheme>
    <a:fontScheme name="QRC Sthl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016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20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QRC-ppt-mall-2020.potx" id="{5478AC2E-4366-4461-9F30-F9489BC36CC9}" vid="{B0CE5D12-6637-4B5A-AAD2-EB9970DC03EC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226D437799D3747A35C0534322E85D0" ma:contentTypeVersion="11" ma:contentTypeDescription="Skapa ett nytt dokument." ma:contentTypeScope="" ma:versionID="ca9b71d11876965d465d0b07ca8e20af">
  <xsd:schema xmlns:xsd="http://www.w3.org/2001/XMLSchema" xmlns:xs="http://www.w3.org/2001/XMLSchema" xmlns:p="http://schemas.microsoft.com/office/2006/metadata/properties" xmlns:ns3="296848f0-abce-48e7-be4c-6cb621737bfa" xmlns:ns4="b40e3375-962b-4a82-b634-240dd4effd95" targetNamespace="http://schemas.microsoft.com/office/2006/metadata/properties" ma:root="true" ma:fieldsID="efba43661062d35ce74228e25baf7d92" ns3:_="" ns4:_="">
    <xsd:import namespace="296848f0-abce-48e7-be4c-6cb621737bfa"/>
    <xsd:import namespace="b40e3375-962b-4a82-b634-240dd4effd9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6848f0-abce-48e7-be4c-6cb621737b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0e3375-962b-4a82-b634-240dd4effd9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Delar tips,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AF1AD1A-2815-4AEF-BF34-28900B4686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6848f0-abce-48e7-be4c-6cb621737bfa"/>
    <ds:schemaRef ds:uri="b40e3375-962b-4a82-b634-240dd4effd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068680-729C-46D7-81EE-A3EC47914E3B}">
  <ds:schemaRefs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b40e3375-962b-4a82-b634-240dd4effd95"/>
    <ds:schemaRef ds:uri="http://purl.org/dc/terms/"/>
    <ds:schemaRef ds:uri="296848f0-abce-48e7-be4c-6cb621737bfa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5AB53AA-EBE4-46F9-A91E-045D87E59A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132</TotalTime>
  <Words>619</Words>
  <Application>Microsoft Macintosh PowerPoint</Application>
  <PresentationFormat>Bredbild</PresentationFormat>
  <Paragraphs>119</Paragraphs>
  <Slides>14</Slides>
  <Notes>6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4</vt:i4>
      </vt:variant>
    </vt:vector>
  </HeadingPairs>
  <TitlesOfParts>
    <vt:vector size="22" baseType="lpstr">
      <vt:lpstr>Arial</vt:lpstr>
      <vt:lpstr>Calibri</vt:lpstr>
      <vt:lpstr>Inter</vt:lpstr>
      <vt:lpstr>Open Sans</vt:lpstr>
      <vt:lpstr>Wingdings</vt:lpstr>
      <vt:lpstr>1177 Vårguiden</vt:lpstr>
      <vt:lpstr>QRC-ppt mall_2020</vt:lpstr>
      <vt:lpstr>think-cell Slide</vt:lpstr>
      <vt:lpstr>Användarforum    Regionalt ansvariga och Nationella förvaltningen Formulärhantering</vt:lpstr>
      <vt:lpstr>Syfte: Koordinera och samla in behov, kanal för informations- och erfarenhetsutbyte </vt:lpstr>
      <vt:lpstr>Check-in: Vad vill du ta upp idag?</vt:lpstr>
      <vt:lpstr>Anmälda frågor från regionerna </vt:lpstr>
      <vt:lpstr>Information från förvaltningen 💡</vt:lpstr>
      <vt:lpstr>Flytt  till ny driftsleverantör 🌟KLAR🌟! (1 av 1)</vt:lpstr>
      <vt:lpstr>Aktivitets- och tidplan 2023</vt:lpstr>
      <vt:lpstr>Fördjupningsområde 🔎  forumets huvudpunkt – vi diskuterar ett utvalt fördjupningsområde</vt:lpstr>
      <vt:lpstr>NAFS - Nationell tjänst för insamling av patientrapporterade data </vt:lpstr>
      <vt:lpstr>Bensträckare  vi ses igen om 5 minuter!   🙌🏼</vt:lpstr>
      <vt:lpstr>Check-in: Vad vill du ta upp idag?</vt:lpstr>
      <vt:lpstr>Mentimeter – Tankar och idéer om Användarforum</vt:lpstr>
      <vt:lpstr>Kommande Användarforum 2023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rubrik kommer att stå här och kan vara på tre rader</dc:title>
  <dc:creator>Bennani Safia</dc:creator>
  <cp:lastModifiedBy>Åshammar Jenny</cp:lastModifiedBy>
  <cp:revision>506</cp:revision>
  <cp:lastPrinted>2022-02-09T16:36:04Z</cp:lastPrinted>
  <dcterms:created xsi:type="dcterms:W3CDTF">2019-08-13T08:23:18Z</dcterms:created>
  <dcterms:modified xsi:type="dcterms:W3CDTF">2023-06-15T07:11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26D437799D3747A35C0534322E85D0</vt:lpwstr>
  </property>
</Properties>
</file>